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0" r:id="rId4"/>
  </p:sldMasterIdLst>
  <p:notesMasterIdLst>
    <p:notesMasterId r:id="rId21"/>
  </p:notesMasterIdLst>
  <p:handoutMasterIdLst>
    <p:handoutMasterId r:id="rId22"/>
  </p:handoutMasterIdLst>
  <p:sldIdLst>
    <p:sldId id="2147470389" r:id="rId5"/>
    <p:sldId id="264" r:id="rId6"/>
    <p:sldId id="259" r:id="rId7"/>
    <p:sldId id="2147481035" r:id="rId8"/>
    <p:sldId id="2147481036" r:id="rId9"/>
    <p:sldId id="2147481033" r:id="rId10"/>
    <p:sldId id="258" r:id="rId11"/>
    <p:sldId id="2147481976" r:id="rId12"/>
    <p:sldId id="260" r:id="rId13"/>
    <p:sldId id="821" r:id="rId14"/>
    <p:sldId id="278" r:id="rId15"/>
    <p:sldId id="263" r:id="rId16"/>
    <p:sldId id="267" r:id="rId17"/>
    <p:sldId id="268" r:id="rId18"/>
    <p:sldId id="2147470746" r:id="rId19"/>
    <p:sldId id="2147481021" r:id="rId20"/>
  </p:sldIdLst>
  <p:sldSz cx="12192000" cy="6858000"/>
  <p:notesSz cx="7315200" cy="9601200"/>
  <p:custDataLst>
    <p:tags r:id="rId2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1D6828-F544-0F4D-40C5-394F51BC891C}" name="Daren Mcclearnon" initials="DM" userId="S::daren_mcclearnon@keysight.com::64b47e63-7645-40fb-ada6-fb825d8eba1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man Smith" initials="NS" lastIdx="1" clrIdx="0">
    <p:extLst>
      <p:ext uri="{19B8F6BF-5375-455C-9EA6-DF929625EA0E}">
        <p15:presenceInfo xmlns:p15="http://schemas.microsoft.com/office/powerpoint/2012/main" userId="S::norman.smith@keysight.com::4e2f7b53-8621-4075-a5bb-c86c8b4b0d3a" providerId="AD"/>
      </p:ext>
    </p:extLst>
  </p:cmAuthor>
  <p:cmAuthor id="2" name="Peter Blood" initials="PB" lastIdx="3" clrIdx="1">
    <p:extLst>
      <p:ext uri="{19B8F6BF-5375-455C-9EA6-DF929625EA0E}">
        <p15:presenceInfo xmlns:p15="http://schemas.microsoft.com/office/powerpoint/2012/main" userId="S::peter.blood@keysight.com::857cef82-25b2-401c-8b91-d1a3180a770d" providerId="AD"/>
      </p:ext>
    </p:extLst>
  </p:cmAuthor>
  <p:cmAuthor id="3" name="Wilfredo Rivas-Torres" initials="WRT" lastIdx="1" clrIdx="2">
    <p:extLst>
      <p:ext uri="{19B8F6BF-5375-455C-9EA6-DF929625EA0E}">
        <p15:presenceInfo xmlns:p15="http://schemas.microsoft.com/office/powerpoint/2012/main" userId="S::wilfredo.rivas-torres@keysight.com::779dcfad-f3db-4d8f-9a81-08b1929733a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858F"/>
    <a:srgbClr val="000000"/>
    <a:srgbClr val="FCB300"/>
    <a:srgbClr val="AED7DC"/>
    <a:srgbClr val="8585FF"/>
    <a:srgbClr val="E90029"/>
    <a:srgbClr val="46879A"/>
    <a:srgbClr val="DF7F7F"/>
    <a:srgbClr val="333333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2CB083-F09C-46A5-BE67-96B523461E23}" v="332" dt="2026-03-16T16:13:20.9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97" autoAdjust="0"/>
    <p:restoredTop sz="96449" autoAdjust="0"/>
  </p:normalViewPr>
  <p:slideViewPr>
    <p:cSldViewPr snapToGrid="0">
      <p:cViewPr varScale="1">
        <p:scale>
          <a:sx n="117" d="100"/>
          <a:sy n="117" d="100"/>
        </p:scale>
        <p:origin x="6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san Ahmadi" userId="185451f2-705f-4cb5-8981-49e1634a8ab1" providerId="ADAL" clId="{06270932-BD14-44BC-834E-107E8C2ABD03}"/>
    <pc:docChg chg="undo custSel addSld delSld modSld sldOrd modMainMaster delSection modSection modShowInfo">
      <pc:chgData name="Sassan Ahmadi" userId="185451f2-705f-4cb5-8981-49e1634a8ab1" providerId="ADAL" clId="{06270932-BD14-44BC-834E-107E8C2ABD03}" dt="2026-03-16T16:16:26.661" v="7572"/>
      <pc:docMkLst>
        <pc:docMk/>
      </pc:docMkLst>
      <pc:sldChg chg="modSp add mod modTransition">
        <pc:chgData name="Sassan Ahmadi" userId="185451f2-705f-4cb5-8981-49e1634a8ab1" providerId="ADAL" clId="{06270932-BD14-44BC-834E-107E8C2ABD03}" dt="2026-03-15T18:46:45.024" v="7175" actId="790"/>
        <pc:sldMkLst>
          <pc:docMk/>
          <pc:sldMk cId="2878325324" sldId="258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878325324" sldId="258"/>
            <ac:spMk id="3" creationId="{5CA06171-2C5C-7917-F9DA-7FEDA0FAC83E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878325324" sldId="258"/>
            <ac:spMk id="4" creationId="{A14BBE42-6D1C-4AFA-9443-697AE45062F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878325324" sldId="258"/>
            <ac:spMk id="9" creationId="{A767E143-A267-0341-8A2D-DDEC0E7182D5}"/>
          </ac:spMkLst>
        </pc:spChg>
      </pc:sldChg>
      <pc:sldChg chg="addSp modSp new mod ord modTransition modAnim">
        <pc:chgData name="Sassan Ahmadi" userId="185451f2-705f-4cb5-8981-49e1634a8ab1" providerId="ADAL" clId="{06270932-BD14-44BC-834E-107E8C2ABD03}" dt="2026-03-15T18:46:45.024" v="7175" actId="790"/>
        <pc:sldMkLst>
          <pc:docMk/>
          <pc:sldMk cId="2563919656" sldId="259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563919656" sldId="259"/>
            <ac:spMk id="2" creationId="{BFF32857-38CC-A91D-DAA8-C9F32271C519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563919656" sldId="259"/>
            <ac:spMk id="3" creationId="{A5629D84-E888-E726-DF10-8F4BD012784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563919656" sldId="259"/>
            <ac:spMk id="4" creationId="{7D194A4C-532D-0C00-BEDB-61282944B1B2}"/>
          </ac:spMkLst>
        </pc:spChg>
        <pc:spChg chg="add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563919656" sldId="259"/>
            <ac:spMk id="5" creationId="{9BB79C8D-E826-8481-BCED-A0936A3D1B69}"/>
          </ac:spMkLst>
        </pc:spChg>
      </pc:sldChg>
      <pc:sldChg chg="modSp add mod ord modTransition">
        <pc:chgData name="Sassan Ahmadi" userId="185451f2-705f-4cb5-8981-49e1634a8ab1" providerId="ADAL" clId="{06270932-BD14-44BC-834E-107E8C2ABD03}" dt="2026-03-16T16:16:26.661" v="7572"/>
        <pc:sldMkLst>
          <pc:docMk/>
          <pc:sldMk cId="2402801856" sldId="260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402801856" sldId="260"/>
            <ac:spMk id="3" creationId="{BE4266DA-A9DC-9F54-D7BB-10F377908E0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402801856" sldId="260"/>
            <ac:spMk id="4" creationId="{471E2546-E05F-C31D-E0FB-F0F200FE4EDC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402801856" sldId="260"/>
            <ac:spMk id="6" creationId="{7E408454-18D9-BFEE-3CCC-D3E14C03B279}"/>
          </ac:spMkLst>
        </pc:spChg>
      </pc:sldChg>
      <pc:sldChg chg="addSp delSp modSp add mod modTransition">
        <pc:chgData name="Sassan Ahmadi" userId="185451f2-705f-4cb5-8981-49e1634a8ab1" providerId="ADAL" clId="{06270932-BD14-44BC-834E-107E8C2ABD03}" dt="2026-03-15T18:46:45.024" v="7175" actId="790"/>
        <pc:sldMkLst>
          <pc:docMk/>
          <pc:sldMk cId="3323550602" sldId="263"/>
        </pc:sldMkLst>
        <pc:spChg chg="mod">
          <ac:chgData name="Sassan Ahmadi" userId="185451f2-705f-4cb5-8981-49e1634a8ab1" providerId="ADAL" clId="{06270932-BD14-44BC-834E-107E8C2ABD03}" dt="2026-03-11T21:58:31.292" v="6338" actId="208"/>
          <ac:spMkLst>
            <pc:docMk/>
            <pc:sldMk cId="3323550602" sldId="263"/>
            <ac:spMk id="2" creationId="{6AD37E7D-CBC3-04C7-DAF5-1A984BEF15EA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4" creationId="{6101AACE-1CBE-BA0F-9221-45E5E46AA7A4}"/>
          </ac:spMkLst>
        </pc:spChg>
        <pc:spChg chg="add del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12" creationId="{29C200E9-BAD4-AE9C-7241-A765E0792369}"/>
          </ac:spMkLst>
        </pc:spChg>
        <pc:spChg chg="mod">
          <ac:chgData name="Sassan Ahmadi" userId="185451f2-705f-4cb5-8981-49e1634a8ab1" providerId="ADAL" clId="{06270932-BD14-44BC-834E-107E8C2ABD03}" dt="2026-03-11T21:56:12.232" v="6323" actId="207"/>
          <ac:spMkLst>
            <pc:docMk/>
            <pc:sldMk cId="3323550602" sldId="263"/>
            <ac:spMk id="14" creationId="{87D2D3FB-A15C-138A-1865-F2AC3BF1D332}"/>
          </ac:spMkLst>
        </pc:spChg>
        <pc:spChg chg="add del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19" creationId="{6C5730BC-5281-4972-235E-C072D25BE7A5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20" creationId="{2BC0CA79-3E4D-38D1-C0D8-282DA06C7396}"/>
          </ac:spMkLst>
        </pc:spChg>
        <pc:spChg chg="mod">
          <ac:chgData name="Sassan Ahmadi" userId="185451f2-705f-4cb5-8981-49e1634a8ab1" providerId="ADAL" clId="{06270932-BD14-44BC-834E-107E8C2ABD03}" dt="2026-03-11T21:55:15.369" v="6317" actId="207"/>
          <ac:spMkLst>
            <pc:docMk/>
            <pc:sldMk cId="3323550602" sldId="263"/>
            <ac:spMk id="23" creationId="{3130E284-A594-CC83-D651-51EF2C5D69D4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24" creationId="{921C1F4D-39A9-687D-3083-C9B0226B2414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31" creationId="{A52B074F-6D88-C117-88B8-645B42A6D694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46" creationId="{665DECAF-E9D5-1847-5EC9-B7FDC2096CA8}"/>
          </ac:spMkLst>
        </pc:spChg>
        <pc:spChg chg="mod">
          <ac:chgData name="Sassan Ahmadi" userId="185451f2-705f-4cb5-8981-49e1634a8ab1" providerId="ADAL" clId="{06270932-BD14-44BC-834E-107E8C2ABD03}" dt="2026-03-11T21:58:23.175" v="6336" actId="208"/>
          <ac:spMkLst>
            <pc:docMk/>
            <pc:sldMk cId="3323550602" sldId="263"/>
            <ac:spMk id="47" creationId="{D01385D9-A59D-BF06-C8D3-A24ECD6A13FB}"/>
          </ac:spMkLst>
        </pc:spChg>
        <pc:spChg chg="mod">
          <ac:chgData name="Sassan Ahmadi" userId="185451f2-705f-4cb5-8981-49e1634a8ab1" providerId="ADAL" clId="{06270932-BD14-44BC-834E-107E8C2ABD03}" dt="2026-03-11T21:59:00.541" v="6341" actId="20577"/>
          <ac:spMkLst>
            <pc:docMk/>
            <pc:sldMk cId="3323550602" sldId="263"/>
            <ac:spMk id="48" creationId="{222BAB7A-1FB1-1550-A46A-611C06658C1A}"/>
          </ac:spMkLst>
        </pc:spChg>
        <pc:spChg chg="mod">
          <ac:chgData name="Sassan Ahmadi" userId="185451f2-705f-4cb5-8981-49e1634a8ab1" providerId="ADAL" clId="{06270932-BD14-44BC-834E-107E8C2ABD03}" dt="2026-03-11T22:01:01.768" v="6385" actId="20577"/>
          <ac:spMkLst>
            <pc:docMk/>
            <pc:sldMk cId="3323550602" sldId="263"/>
            <ac:spMk id="49" creationId="{2EB34374-1495-6A4C-B3ED-EBF1D6EF61BA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50" creationId="{59420D08-222E-1E19-99D1-4EB44A348AB9}"/>
          </ac:spMkLst>
        </pc:spChg>
        <pc:spChg chg="mod">
          <ac:chgData name="Sassan Ahmadi" userId="185451f2-705f-4cb5-8981-49e1634a8ab1" providerId="ADAL" clId="{06270932-BD14-44BC-834E-107E8C2ABD03}" dt="2026-03-11T21:57:27.118" v="6327" actId="208"/>
          <ac:spMkLst>
            <pc:docMk/>
            <pc:sldMk cId="3323550602" sldId="263"/>
            <ac:spMk id="51" creationId="{9902FEDB-5FDE-BFA7-6BBF-578A2A2026FA}"/>
          </ac:spMkLst>
        </pc:spChg>
        <pc:spChg chg="mod">
          <ac:chgData name="Sassan Ahmadi" userId="185451f2-705f-4cb5-8981-49e1634a8ab1" providerId="ADAL" clId="{06270932-BD14-44BC-834E-107E8C2ABD03}" dt="2026-03-11T21:57:33.978" v="6329" actId="208"/>
          <ac:spMkLst>
            <pc:docMk/>
            <pc:sldMk cId="3323550602" sldId="263"/>
            <ac:spMk id="52" creationId="{3A0ED149-FDA9-425B-3ACD-E86FACB7034B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53" creationId="{F98C6369-B9F3-33FB-C542-52EBB5CB540D}"/>
          </ac:spMkLst>
        </pc:spChg>
        <pc:spChg chg="mod">
          <ac:chgData name="Sassan Ahmadi" userId="185451f2-705f-4cb5-8981-49e1634a8ab1" providerId="ADAL" clId="{06270932-BD14-44BC-834E-107E8C2ABD03}" dt="2026-03-11T22:00:54.300" v="6382" actId="6549"/>
          <ac:spMkLst>
            <pc:docMk/>
            <pc:sldMk cId="3323550602" sldId="263"/>
            <ac:spMk id="60" creationId="{DCA6CA72-2B40-DDCC-6C02-190898185F94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323550602" sldId="263"/>
            <ac:spMk id="61" creationId="{572F83A8-3E5A-8757-1E33-01126A39A372}"/>
          </ac:spMkLst>
        </pc:spChg>
        <pc:spChg chg="mod">
          <ac:chgData name="Sassan Ahmadi" userId="185451f2-705f-4cb5-8981-49e1634a8ab1" providerId="ADAL" clId="{06270932-BD14-44BC-834E-107E8C2ABD03}" dt="2026-03-11T21:59:41.199" v="6377" actId="20577"/>
          <ac:spMkLst>
            <pc:docMk/>
            <pc:sldMk cId="3323550602" sldId="263"/>
            <ac:spMk id="62" creationId="{78FB0DDA-139D-DA0D-9D25-B1F3584DF3D4}"/>
          </ac:spMkLst>
        </pc:spChg>
        <pc:picChg chg="mod">
          <ac:chgData name="Sassan Ahmadi" userId="185451f2-705f-4cb5-8981-49e1634a8ab1" providerId="ADAL" clId="{06270932-BD14-44BC-834E-107E8C2ABD03}" dt="2026-03-11T21:52:50.293" v="6302" actId="207"/>
          <ac:picMkLst>
            <pc:docMk/>
            <pc:sldMk cId="3323550602" sldId="263"/>
            <ac:picMk id="6" creationId="{8507DE7A-B802-4D54-5E3D-636F105C73C7}"/>
          </ac:picMkLst>
        </pc:picChg>
        <pc:picChg chg="mod">
          <ac:chgData name="Sassan Ahmadi" userId="185451f2-705f-4cb5-8981-49e1634a8ab1" providerId="ADAL" clId="{06270932-BD14-44BC-834E-107E8C2ABD03}" dt="2026-03-11T21:52:22.881" v="6301" actId="207"/>
          <ac:picMkLst>
            <pc:docMk/>
            <pc:sldMk cId="3323550602" sldId="263"/>
            <ac:picMk id="7" creationId="{E063A234-851B-44DF-1011-29850E8979AF}"/>
          </ac:picMkLst>
        </pc:picChg>
        <pc:picChg chg="mod">
          <ac:chgData name="Sassan Ahmadi" userId="185451f2-705f-4cb5-8981-49e1634a8ab1" providerId="ADAL" clId="{06270932-BD14-44BC-834E-107E8C2ABD03}" dt="2026-03-11T21:53:08.544" v="6303" actId="207"/>
          <ac:picMkLst>
            <pc:docMk/>
            <pc:sldMk cId="3323550602" sldId="263"/>
            <ac:picMk id="8" creationId="{4DECB82D-887A-EE19-27D6-448DF90FD501}"/>
          </ac:picMkLst>
        </pc:picChg>
        <pc:picChg chg="add del topLvl">
          <ac:chgData name="Sassan Ahmadi" userId="185451f2-705f-4cb5-8981-49e1634a8ab1" providerId="ADAL" clId="{06270932-BD14-44BC-834E-107E8C2ABD03}" dt="2026-03-11T21:53:57.928" v="6307" actId="478"/>
          <ac:picMkLst>
            <pc:docMk/>
            <pc:sldMk cId="3323550602" sldId="263"/>
            <ac:picMk id="26" creationId="{5F4E1502-AE8C-CC6C-7D61-B650B16584CC}"/>
          </ac:picMkLst>
        </pc:picChg>
        <pc:picChg chg="mod">
          <ac:chgData name="Sassan Ahmadi" userId="185451f2-705f-4cb5-8981-49e1634a8ab1" providerId="ADAL" clId="{06270932-BD14-44BC-834E-107E8C2ABD03}" dt="2026-03-11T21:56:38.862" v="6325" actId="207"/>
          <ac:picMkLst>
            <pc:docMk/>
            <pc:sldMk cId="3323550602" sldId="263"/>
            <ac:picMk id="55" creationId="{E2236B6D-099A-F501-8C4F-68DF0A4C800F}"/>
          </ac:picMkLst>
        </pc:picChg>
        <pc:picChg chg="mod">
          <ac:chgData name="Sassan Ahmadi" userId="185451f2-705f-4cb5-8981-49e1634a8ab1" providerId="ADAL" clId="{06270932-BD14-44BC-834E-107E8C2ABD03}" dt="2026-03-11T21:56:35.476" v="6324" actId="207"/>
          <ac:picMkLst>
            <pc:docMk/>
            <pc:sldMk cId="3323550602" sldId="263"/>
            <ac:picMk id="58" creationId="{32409E52-1307-C4CC-A1D7-8B8E7DE64BB5}"/>
          </ac:picMkLst>
        </pc:picChg>
      </pc:sldChg>
      <pc:sldChg chg="addSp delSp modSp add mod modTransition chgLayout">
        <pc:chgData name="Sassan Ahmadi" userId="185451f2-705f-4cb5-8981-49e1634a8ab1" providerId="ADAL" clId="{06270932-BD14-44BC-834E-107E8C2ABD03}" dt="2026-03-15T18:46:45.024" v="7175" actId="790"/>
        <pc:sldMkLst>
          <pc:docMk/>
          <pc:sldMk cId="993125688" sldId="264"/>
        </pc:sldMkLst>
        <pc:spChg chg="add 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993125688" sldId="264"/>
            <ac:spMk id="4" creationId="{4CB5355D-F0BF-3F8E-E68E-9DA6F10A300B}"/>
          </ac:spMkLst>
        </pc:spChg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993125688" sldId="264"/>
            <ac:spMk id="5" creationId="{83B21FCF-1A6A-48A5-5D9B-7FD199B08218}"/>
          </ac:spMkLst>
        </pc:spChg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993125688" sldId="264"/>
            <ac:spMk id="13" creationId="{84F04B78-3B5B-B8C3-49CE-957103480B18}"/>
          </ac:spMkLst>
        </pc:spChg>
      </pc:sldChg>
      <pc:sldChg chg="addSp delSp modSp add del mod modTransition delAnim">
        <pc:chgData name="Sassan Ahmadi" userId="185451f2-705f-4cb5-8981-49e1634a8ab1" providerId="ADAL" clId="{06270932-BD14-44BC-834E-107E8C2ABD03}" dt="2026-03-15T22:26:02.812" v="7401" actId="47"/>
        <pc:sldMkLst>
          <pc:docMk/>
          <pc:sldMk cId="1752395504" sldId="265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3" creationId="{42C38570-FCAA-9DDF-A6A2-C5670213EF2A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4" creationId="{156EFAF1-80CE-5DA9-63C6-AF0D6225E2C0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8" creationId="{38FD91D6-4316-888E-7D48-8EBD3FEB4A1D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13" creationId="{C0ADC54F-3A08-120F-5E09-117E8B4C5301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16" creationId="{8FC2EB95-9CD0-6C13-3D79-3E7178622551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18" creationId="{42561DDE-0411-FA28-1B4F-9F049AB8611C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19" creationId="{537738B7-53DE-EC5E-BA56-C702513195A1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20" creationId="{DB52AC86-AB5E-B42E-D2FC-4FCC2F07F954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21" creationId="{33E5C862-5668-2463-70D4-4FCCAE175B3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752395504" sldId="265"/>
            <ac:spMk id="22" creationId="{1BA87892-D32F-8A8A-E24D-4531AB17BB39}"/>
          </ac:spMkLst>
        </pc:spChg>
      </pc:sldChg>
      <pc:sldChg chg="modSp add del mod modTransition">
        <pc:chgData name="Sassan Ahmadi" userId="185451f2-705f-4cb5-8981-49e1634a8ab1" providerId="ADAL" clId="{06270932-BD14-44BC-834E-107E8C2ABD03}" dt="2026-03-15T22:25:56.338" v="7400" actId="47"/>
        <pc:sldMkLst>
          <pc:docMk/>
          <pc:sldMk cId="3992625266" sldId="266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2" creationId="{88FDFE85-3996-BC6E-99C9-E6C697FB4A9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3" creationId="{7C12288C-3B39-8F48-6C84-A0D2ECDCFB11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5" creationId="{C5AAF1DE-BC45-8BDA-4CB9-ED9020930829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6" creationId="{ABF04CDB-4FA8-73DA-08C6-AA222CF198E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7" creationId="{DE9C2E6B-D2D9-95B6-E375-F340205D1955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9" creationId="{48FB7FDA-282A-F750-D1F1-142B51E49815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10" creationId="{838A5BBF-A28D-C9F7-9AD8-1DC75581CAF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15" creationId="{11B260EB-2AA4-B3DF-9048-F9CADC07215E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17" creationId="{A372D0B4-7E18-467D-43C7-3F51A5C1B936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992625266" sldId="266"/>
            <ac:spMk id="18" creationId="{1B597871-0DB4-F858-56D6-E4766B9414B7}"/>
          </ac:spMkLst>
        </pc:spChg>
      </pc:sldChg>
      <pc:sldChg chg="addSp delSp modSp add mod modTransition modAnim">
        <pc:chgData name="Sassan Ahmadi" userId="185451f2-705f-4cb5-8981-49e1634a8ab1" providerId="ADAL" clId="{06270932-BD14-44BC-834E-107E8C2ABD03}" dt="2026-03-15T22:25:02.633" v="7399"/>
        <pc:sldMkLst>
          <pc:docMk/>
          <pc:sldMk cId="3061190279" sldId="267"/>
        </pc:sldMkLst>
        <pc:spChg chg="add mod ord">
          <ac:chgData name="Sassan Ahmadi" userId="185451f2-705f-4cb5-8981-49e1634a8ab1" providerId="ADAL" clId="{06270932-BD14-44BC-834E-107E8C2ABD03}" dt="2026-03-15T22:16:12.872" v="7280" actId="14100"/>
          <ac:spMkLst>
            <pc:docMk/>
            <pc:sldMk cId="3061190279" sldId="267"/>
            <ac:spMk id="2" creationId="{71A0BF25-BDC7-72DF-F6A0-041D4B16FBF2}"/>
          </ac:spMkLst>
        </pc:spChg>
        <pc:spChg chg="add mod">
          <ac:chgData name="Sassan Ahmadi" userId="185451f2-705f-4cb5-8981-49e1634a8ab1" providerId="ADAL" clId="{06270932-BD14-44BC-834E-107E8C2ABD03}" dt="2026-03-15T22:05:27.713" v="7237" actId="1037"/>
          <ac:spMkLst>
            <pc:docMk/>
            <pc:sldMk cId="3061190279" sldId="267"/>
            <ac:spMk id="3" creationId="{55D839A2-4E94-03FF-BEE3-44E3E694F644}"/>
          </ac:spMkLst>
        </pc:spChg>
        <pc:spChg chg="mod">
          <ac:chgData name="Sassan Ahmadi" userId="185451f2-705f-4cb5-8981-49e1634a8ab1" providerId="ADAL" clId="{06270932-BD14-44BC-834E-107E8C2ABD03}" dt="2026-03-15T22:13:19.781" v="7265"/>
          <ac:spMkLst>
            <pc:docMk/>
            <pc:sldMk cId="3061190279" sldId="267"/>
            <ac:spMk id="4" creationId="{4AFD48F7-C144-D801-0C13-E6350B003278}"/>
          </ac:spMkLst>
        </pc:spChg>
        <pc:spChg chg="add mod">
          <ac:chgData name="Sassan Ahmadi" userId="185451f2-705f-4cb5-8981-49e1634a8ab1" providerId="ADAL" clId="{06270932-BD14-44BC-834E-107E8C2ABD03}" dt="2026-03-15T22:05:36.348" v="7239" actId="1076"/>
          <ac:spMkLst>
            <pc:docMk/>
            <pc:sldMk cId="3061190279" sldId="267"/>
            <ac:spMk id="5" creationId="{570EC5E8-47CA-723C-552F-9E6C89B9B212}"/>
          </ac:spMkLst>
        </pc:spChg>
        <pc:spChg chg="add mod">
          <ac:chgData name="Sassan Ahmadi" userId="185451f2-705f-4cb5-8981-49e1634a8ab1" providerId="ADAL" clId="{06270932-BD14-44BC-834E-107E8C2ABD03}" dt="2026-03-15T22:05:49.228" v="7243" actId="14100"/>
          <ac:spMkLst>
            <pc:docMk/>
            <pc:sldMk cId="3061190279" sldId="267"/>
            <ac:spMk id="7" creationId="{DB684FCB-F4BF-D19A-EAED-00C3FD35F761}"/>
          </ac:spMkLst>
        </pc:spChg>
        <pc:spChg chg="add mod">
          <ac:chgData name="Sassan Ahmadi" userId="185451f2-705f-4cb5-8981-49e1634a8ab1" providerId="ADAL" clId="{06270932-BD14-44BC-834E-107E8C2ABD03}" dt="2026-03-15T22:06:22.959" v="7250" actId="14100"/>
          <ac:spMkLst>
            <pc:docMk/>
            <pc:sldMk cId="3061190279" sldId="267"/>
            <ac:spMk id="8" creationId="{C78DC197-0D39-F2AC-29AD-6895EA7350B3}"/>
          </ac:spMkLst>
        </pc:spChg>
        <pc:spChg chg="mod">
          <ac:chgData name="Sassan Ahmadi" userId="185451f2-705f-4cb5-8981-49e1634a8ab1" providerId="ADAL" clId="{06270932-BD14-44BC-834E-107E8C2ABD03}" dt="2026-03-12T19:25:15.698" v="6481" actId="1076"/>
          <ac:spMkLst>
            <pc:docMk/>
            <pc:sldMk cId="3061190279" sldId="267"/>
            <ac:spMk id="11" creationId="{B3BF40DE-013E-D164-891C-A932ECDBDD16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12" creationId="{8E0C2732-DC9B-8FB1-5A60-E206AE9CBBF3}"/>
          </ac:spMkLst>
        </pc:spChg>
        <pc:spChg chg="mod">
          <ac:chgData name="Sassan Ahmadi" userId="185451f2-705f-4cb5-8981-49e1634a8ab1" providerId="ADAL" clId="{06270932-BD14-44BC-834E-107E8C2ABD03}" dt="2026-03-12T19:26:32.359" v="6500" actId="1038"/>
          <ac:spMkLst>
            <pc:docMk/>
            <pc:sldMk cId="3061190279" sldId="267"/>
            <ac:spMk id="13" creationId="{73763B7A-20AF-0B74-7238-28EB5AADBE3A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14" creationId="{C2E7DBD1-B701-FF88-5C59-23DD080A81C8}"/>
          </ac:spMkLst>
        </pc:spChg>
        <pc:spChg chg="mod">
          <ac:chgData name="Sassan Ahmadi" userId="185451f2-705f-4cb5-8981-49e1634a8ab1" providerId="ADAL" clId="{06270932-BD14-44BC-834E-107E8C2ABD03}" dt="2026-03-12T19:26:43.173" v="6535" actId="1037"/>
          <ac:spMkLst>
            <pc:docMk/>
            <pc:sldMk cId="3061190279" sldId="267"/>
            <ac:spMk id="15" creationId="{AEB564D7-2FD6-D05A-08CA-CF0BB366A67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16" creationId="{1F220DA4-FAA2-CEE9-E4CC-77EDF719216C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17" creationId="{7B2BB01E-086D-4D77-DCEC-0AC516CAC93A}"/>
          </ac:spMkLst>
        </pc:spChg>
        <pc:spChg chg="mod">
          <ac:chgData name="Sassan Ahmadi" userId="185451f2-705f-4cb5-8981-49e1634a8ab1" providerId="ADAL" clId="{06270932-BD14-44BC-834E-107E8C2ABD03}" dt="2026-03-12T19:24:50.314" v="6480" actId="1076"/>
          <ac:spMkLst>
            <pc:docMk/>
            <pc:sldMk cId="3061190279" sldId="267"/>
            <ac:spMk id="20" creationId="{6A267D6C-2950-4B47-1CBF-1668B5B00D48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21" creationId="{88F691E7-6191-25F6-6277-7E2A06464CA0}"/>
          </ac:spMkLst>
        </pc:spChg>
        <pc:spChg chg="mod">
          <ac:chgData name="Sassan Ahmadi" userId="185451f2-705f-4cb5-8981-49e1634a8ab1" providerId="ADAL" clId="{06270932-BD14-44BC-834E-107E8C2ABD03}" dt="2026-03-12T19:25:53.304" v="6483" actId="1076"/>
          <ac:spMkLst>
            <pc:docMk/>
            <pc:sldMk cId="3061190279" sldId="267"/>
            <ac:spMk id="22" creationId="{E292FAE6-3416-A056-4275-95516D9A180C}"/>
          </ac:spMkLst>
        </pc:spChg>
        <pc:spChg chg="mod">
          <ac:chgData name="Sassan Ahmadi" userId="185451f2-705f-4cb5-8981-49e1634a8ab1" providerId="ADAL" clId="{06270932-BD14-44BC-834E-107E8C2ABD03}" dt="2026-03-12T19:25:36.841" v="6482" actId="1076"/>
          <ac:spMkLst>
            <pc:docMk/>
            <pc:sldMk cId="3061190279" sldId="267"/>
            <ac:spMk id="23" creationId="{A17DFE5E-AA97-447D-A479-18ECD1364DF4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24" creationId="{D6FFC6A0-44D5-AF96-F34F-0188EF70B3FC}"/>
          </ac:spMkLst>
        </pc:spChg>
        <pc:spChg chg="mod">
          <ac:chgData name="Sassan Ahmadi" userId="185451f2-705f-4cb5-8981-49e1634a8ab1" providerId="ADAL" clId="{06270932-BD14-44BC-834E-107E8C2ABD03}" dt="2026-03-12T19:26:43.173" v="6535" actId="1037"/>
          <ac:spMkLst>
            <pc:docMk/>
            <pc:sldMk cId="3061190279" sldId="267"/>
            <ac:spMk id="25" creationId="{11E9EEC6-1184-8341-DE97-D3FA40FAE78A}"/>
          </ac:spMkLst>
        </pc:spChg>
        <pc:spChg chg="mod">
          <ac:chgData name="Sassan Ahmadi" userId="185451f2-705f-4cb5-8981-49e1634a8ab1" providerId="ADAL" clId="{06270932-BD14-44BC-834E-107E8C2ABD03}" dt="2026-03-12T19:27:04.003" v="6595" actId="1038"/>
          <ac:spMkLst>
            <pc:docMk/>
            <pc:sldMk cId="3061190279" sldId="267"/>
            <ac:spMk id="26" creationId="{DC4C87F2-B344-BF04-3383-4BED340AE3B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27" creationId="{3AC414DA-D358-75D5-EDE9-752CEE03A8A0}"/>
          </ac:spMkLst>
        </pc:spChg>
        <pc:spChg chg="mod">
          <ac:chgData name="Sassan Ahmadi" userId="185451f2-705f-4cb5-8981-49e1634a8ab1" providerId="ADAL" clId="{06270932-BD14-44BC-834E-107E8C2ABD03}" dt="2026-03-12T19:27:53.190" v="6600" actId="1076"/>
          <ac:spMkLst>
            <pc:docMk/>
            <pc:sldMk cId="3061190279" sldId="267"/>
            <ac:spMk id="28" creationId="{533DE4F4-9963-3F7A-BC49-B05611C536F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29" creationId="{B06A2A61-2890-7E72-5E45-2543BB6912D2}"/>
          </ac:spMkLst>
        </pc:spChg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30" creationId="{62C21D24-90EE-742A-CDA3-8CE4885376C7}"/>
          </ac:spMkLst>
        </pc:spChg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61190279" sldId="267"/>
            <ac:spMk id="31" creationId="{93755F6F-A2D0-9E02-D00E-5BB9A3E4BC45}"/>
          </ac:spMkLst>
        </pc:spChg>
        <pc:spChg chg="mod ord">
          <ac:chgData name="Sassan Ahmadi" userId="185451f2-705f-4cb5-8981-49e1634a8ab1" providerId="ADAL" clId="{06270932-BD14-44BC-834E-107E8C2ABD03}" dt="2026-03-15T22:24:23.950" v="7394" actId="166"/>
          <ac:spMkLst>
            <pc:docMk/>
            <pc:sldMk cId="3061190279" sldId="267"/>
            <ac:spMk id="32" creationId="{00ADBBDC-0861-D2BF-82E5-D182F267E324}"/>
          </ac:spMkLst>
        </pc:spChg>
        <pc:spChg chg="add mod">
          <ac:chgData name="Sassan Ahmadi" userId="185451f2-705f-4cb5-8981-49e1634a8ab1" providerId="ADAL" clId="{06270932-BD14-44BC-834E-107E8C2ABD03}" dt="2026-03-15T22:14:53.429" v="7267" actId="1076"/>
          <ac:spMkLst>
            <pc:docMk/>
            <pc:sldMk cId="3061190279" sldId="267"/>
            <ac:spMk id="33" creationId="{7671CB1A-F48E-2FCD-3BD8-3267F6328B49}"/>
          </ac:spMkLst>
        </pc:spChg>
        <pc:spChg chg="add mod">
          <ac:chgData name="Sassan Ahmadi" userId="185451f2-705f-4cb5-8981-49e1634a8ab1" providerId="ADAL" clId="{06270932-BD14-44BC-834E-107E8C2ABD03}" dt="2026-03-15T22:16:40.861" v="7282" actId="1076"/>
          <ac:spMkLst>
            <pc:docMk/>
            <pc:sldMk cId="3061190279" sldId="267"/>
            <ac:spMk id="34" creationId="{9D18767B-B916-DA07-623C-26D81E075F40}"/>
          </ac:spMkLst>
        </pc:spChg>
        <pc:spChg chg="add mod">
          <ac:chgData name="Sassan Ahmadi" userId="185451f2-705f-4cb5-8981-49e1634a8ab1" providerId="ADAL" clId="{06270932-BD14-44BC-834E-107E8C2ABD03}" dt="2026-03-15T22:17:32.261" v="7285" actId="1076"/>
          <ac:spMkLst>
            <pc:docMk/>
            <pc:sldMk cId="3061190279" sldId="267"/>
            <ac:spMk id="35" creationId="{90F704F8-DD52-83AE-8C87-79C5940EBEF7}"/>
          </ac:spMkLst>
        </pc:spChg>
        <pc:spChg chg="add mod">
          <ac:chgData name="Sassan Ahmadi" userId="185451f2-705f-4cb5-8981-49e1634a8ab1" providerId="ADAL" clId="{06270932-BD14-44BC-834E-107E8C2ABD03}" dt="2026-03-15T22:23:24.344" v="7386" actId="1076"/>
          <ac:spMkLst>
            <pc:docMk/>
            <pc:sldMk cId="3061190279" sldId="267"/>
            <ac:spMk id="41" creationId="{4606B2D7-4209-5418-D616-948EB95B0906}"/>
          </ac:spMkLst>
        </pc:spChg>
        <pc:spChg chg="add mod">
          <ac:chgData name="Sassan Ahmadi" userId="185451f2-705f-4cb5-8981-49e1634a8ab1" providerId="ADAL" clId="{06270932-BD14-44BC-834E-107E8C2ABD03}" dt="2026-03-15T22:24:15.699" v="7393" actId="1076"/>
          <ac:spMkLst>
            <pc:docMk/>
            <pc:sldMk cId="3061190279" sldId="267"/>
            <ac:spMk id="43" creationId="{614FE6B4-5317-A336-2E9C-871DB4A81DAF}"/>
          </ac:spMkLst>
        </pc:spChg>
        <pc:picChg chg="mod">
          <ac:chgData name="Sassan Ahmadi" userId="185451f2-705f-4cb5-8981-49e1634a8ab1" providerId="ADAL" clId="{06270932-BD14-44BC-834E-107E8C2ABD03}" dt="2026-03-12T19:28:08.181" v="6602" actId="1076"/>
          <ac:picMkLst>
            <pc:docMk/>
            <pc:sldMk cId="3061190279" sldId="267"/>
            <ac:picMk id="6" creationId="{2D473A25-7B7B-6A2D-25D3-538F57F5910A}"/>
          </ac:picMkLst>
        </pc:picChg>
        <pc:picChg chg="add mod">
          <ac:chgData name="Sassan Ahmadi" userId="185451f2-705f-4cb5-8981-49e1634a8ab1" providerId="ADAL" clId="{06270932-BD14-44BC-834E-107E8C2ABD03}" dt="2026-03-15T22:10:59.726" v="7252" actId="1076"/>
          <ac:picMkLst>
            <pc:docMk/>
            <pc:sldMk cId="3061190279" sldId="267"/>
            <ac:picMk id="9" creationId="{34C8B42F-0BBC-CA7C-6BA7-25CB9758C70D}"/>
          </ac:picMkLst>
        </pc:picChg>
        <pc:picChg chg="add mod">
          <ac:chgData name="Sassan Ahmadi" userId="185451f2-705f-4cb5-8981-49e1634a8ab1" providerId="ADAL" clId="{06270932-BD14-44BC-834E-107E8C2ABD03}" dt="2026-03-15T22:11:48.809" v="7257" actId="1076"/>
          <ac:picMkLst>
            <pc:docMk/>
            <pc:sldMk cId="3061190279" sldId="267"/>
            <ac:picMk id="10" creationId="{92C1EDB4-5D61-6181-95E3-06BE58A876C1}"/>
          </ac:picMkLst>
        </pc:picChg>
        <pc:picChg chg="add del mod">
          <ac:chgData name="Sassan Ahmadi" userId="185451f2-705f-4cb5-8981-49e1634a8ab1" providerId="ADAL" clId="{06270932-BD14-44BC-834E-107E8C2ABD03}" dt="2026-03-15T22:21:19.073" v="7286" actId="478"/>
          <ac:picMkLst>
            <pc:docMk/>
            <pc:sldMk cId="3061190279" sldId="267"/>
            <ac:picMk id="18" creationId="{04908EC2-7F8D-E9A1-936A-2F74340F88B8}"/>
          </ac:picMkLst>
        </pc:picChg>
        <pc:picChg chg="add mod">
          <ac:chgData name="Sassan Ahmadi" userId="185451f2-705f-4cb5-8981-49e1634a8ab1" providerId="ADAL" clId="{06270932-BD14-44BC-834E-107E8C2ABD03}" dt="2026-03-15T22:12:44.143" v="7263" actId="1076"/>
          <ac:picMkLst>
            <pc:docMk/>
            <pc:sldMk cId="3061190279" sldId="267"/>
            <ac:picMk id="19" creationId="{251F7A86-5B50-97F3-63B3-9EB8109A02BD}"/>
          </ac:picMkLst>
        </pc:picChg>
        <pc:picChg chg="add mod">
          <ac:chgData name="Sassan Ahmadi" userId="185451f2-705f-4cb5-8981-49e1634a8ab1" providerId="ADAL" clId="{06270932-BD14-44BC-834E-107E8C2ABD03}" dt="2026-03-15T22:22:42.236" v="7381" actId="554"/>
          <ac:picMkLst>
            <pc:docMk/>
            <pc:sldMk cId="3061190279" sldId="267"/>
            <ac:picMk id="37" creationId="{12516F7E-A5C8-D9F8-2AE0-BF090D25A380}"/>
          </ac:picMkLst>
        </pc:picChg>
        <pc:picChg chg="add mod">
          <ac:chgData name="Sassan Ahmadi" userId="185451f2-705f-4cb5-8981-49e1634a8ab1" providerId="ADAL" clId="{06270932-BD14-44BC-834E-107E8C2ABD03}" dt="2026-03-15T22:22:42.236" v="7381" actId="554"/>
          <ac:picMkLst>
            <pc:docMk/>
            <pc:sldMk cId="3061190279" sldId="267"/>
            <ac:picMk id="39" creationId="{29D3F786-157D-4A24-E065-0E1E9F47C94F}"/>
          </ac:picMkLst>
        </pc:picChg>
      </pc:sldChg>
      <pc:sldChg chg="addSp modSp add mod modTransition">
        <pc:chgData name="Sassan Ahmadi" userId="185451f2-705f-4cb5-8981-49e1634a8ab1" providerId="ADAL" clId="{06270932-BD14-44BC-834E-107E8C2ABD03}" dt="2026-03-15T18:56:32.997" v="7232" actId="166"/>
        <pc:sldMkLst>
          <pc:docMk/>
          <pc:sldMk cId="3594535138" sldId="268"/>
        </pc:sldMkLst>
        <pc:spChg chg="mod ord">
          <ac:chgData name="Sassan Ahmadi" userId="185451f2-705f-4cb5-8981-49e1634a8ab1" providerId="ADAL" clId="{06270932-BD14-44BC-834E-107E8C2ABD03}" dt="2026-03-15T18:56:32.997" v="7232" actId="166"/>
          <ac:spMkLst>
            <pc:docMk/>
            <pc:sldMk cId="3594535138" sldId="268"/>
            <ac:spMk id="2" creationId="{6424BF41-4561-DE75-6729-B22FC7EEF140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594535138" sldId="268"/>
            <ac:spMk id="5" creationId="{86233154-3B4F-B85E-1B04-3091C9C1E966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594535138" sldId="268"/>
            <ac:spMk id="6" creationId="{36FCFAAC-F504-D9D1-9062-4C2CB686823A}"/>
          </ac:spMkLst>
        </pc:spChg>
        <pc:picChg chg="add mod">
          <ac:chgData name="Sassan Ahmadi" userId="185451f2-705f-4cb5-8981-49e1634a8ab1" providerId="ADAL" clId="{06270932-BD14-44BC-834E-107E8C2ABD03}" dt="2026-03-15T18:55:44.791" v="7222" actId="554"/>
          <ac:picMkLst>
            <pc:docMk/>
            <pc:sldMk cId="3594535138" sldId="268"/>
            <ac:picMk id="4" creationId="{597C4591-5AB5-5767-F030-E56985B1363F}"/>
          </ac:picMkLst>
        </pc:picChg>
        <pc:picChg chg="add mod">
          <ac:chgData name="Sassan Ahmadi" userId="185451f2-705f-4cb5-8981-49e1634a8ab1" providerId="ADAL" clId="{06270932-BD14-44BC-834E-107E8C2ABD03}" dt="2026-03-15T18:55:44.791" v="7222" actId="554"/>
          <ac:picMkLst>
            <pc:docMk/>
            <pc:sldMk cId="3594535138" sldId="268"/>
            <ac:picMk id="8" creationId="{5FDE1859-4AF5-17A4-B164-0870FD886307}"/>
          </ac:picMkLst>
        </pc:picChg>
        <pc:picChg chg="add mod">
          <ac:chgData name="Sassan Ahmadi" userId="185451f2-705f-4cb5-8981-49e1634a8ab1" providerId="ADAL" clId="{06270932-BD14-44BC-834E-107E8C2ABD03}" dt="2026-03-15T18:56:27.701" v="7231" actId="1076"/>
          <ac:picMkLst>
            <pc:docMk/>
            <pc:sldMk cId="3594535138" sldId="268"/>
            <ac:picMk id="11" creationId="{CD45394E-E934-986B-90FA-0AE4AB8E5387}"/>
          </ac:picMkLst>
        </pc:picChg>
      </pc:sldChg>
      <pc:sldChg chg="addSp delSp modSp add mod ord modTransition delAnim modAnim">
        <pc:chgData name="Sassan Ahmadi" userId="185451f2-705f-4cb5-8981-49e1634a8ab1" providerId="ADAL" clId="{06270932-BD14-44BC-834E-107E8C2ABD03}" dt="2026-03-15T18:46:45.024" v="7175" actId="790"/>
        <pc:sldMkLst>
          <pc:docMk/>
          <pc:sldMk cId="1631941065" sldId="278"/>
        </pc:sldMkLst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631941065" sldId="278"/>
            <ac:spMk id="2" creationId="{BED49989-E990-B395-FDE5-3219B6A56D13}"/>
          </ac:spMkLst>
        </pc:spChg>
        <pc:spChg chg="add mod topLvl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631941065" sldId="278"/>
            <ac:spMk id="4" creationId="{5759A876-9328-28A0-BAEA-18CA8736052B}"/>
          </ac:spMkLst>
        </pc:spChg>
        <pc:spChg chg="add mod topLvl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631941065" sldId="278"/>
            <ac:spMk id="5" creationId="{94071AE8-AA57-F617-72F5-04898E299375}"/>
          </ac:spMkLst>
        </pc:spChg>
        <pc:spChg chg="add mod ord topLvl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631941065" sldId="278"/>
            <ac:spMk id="7" creationId="{16C9AEAB-F55B-4422-FA77-26428666E99A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631941065" sldId="278"/>
            <ac:spMk id="9" creationId="{465D39B5-D3ED-759D-2933-CFF05F7BDD0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1631941065" sldId="278"/>
            <ac:spMk id="11" creationId="{31C176D6-2A75-1595-16AE-8BC17564FB9F}"/>
          </ac:spMkLst>
        </pc:spChg>
        <pc:spChg chg="add del mod">
          <ac:chgData name="Sassan Ahmadi" userId="185451f2-705f-4cb5-8981-49e1634a8ab1" providerId="ADAL" clId="{06270932-BD14-44BC-834E-107E8C2ABD03}" dt="2026-03-15T18:15:35.176" v="7035" actId="478"/>
          <ac:spMkLst>
            <pc:docMk/>
            <pc:sldMk cId="1631941065" sldId="278"/>
            <ac:spMk id="17" creationId="{83D29029-9AD2-356E-2DE5-4EBBB978A822}"/>
          </ac:spMkLst>
        </pc:spChg>
        <pc:spChg chg="add del mod">
          <ac:chgData name="Sassan Ahmadi" userId="185451f2-705f-4cb5-8981-49e1634a8ab1" providerId="ADAL" clId="{06270932-BD14-44BC-834E-107E8C2ABD03}" dt="2026-03-15T18:15:32.184" v="7034" actId="478"/>
          <ac:spMkLst>
            <pc:docMk/>
            <pc:sldMk cId="1631941065" sldId="278"/>
            <ac:spMk id="18" creationId="{C32A349B-ECFB-C4A9-D389-A53F3D6D72F3}"/>
          </ac:spMkLst>
        </pc:spChg>
        <pc:grpChg chg="add del mod">
          <ac:chgData name="Sassan Ahmadi" userId="185451f2-705f-4cb5-8981-49e1634a8ab1" providerId="ADAL" clId="{06270932-BD14-44BC-834E-107E8C2ABD03}" dt="2026-03-15T18:10:19.802" v="6944" actId="165"/>
          <ac:grpSpMkLst>
            <pc:docMk/>
            <pc:sldMk cId="1631941065" sldId="278"/>
            <ac:grpSpMk id="12" creationId="{16C99E73-E0A7-E4C2-F25C-8C8D09AB5EFB}"/>
          </ac:grpSpMkLst>
        </pc:grpChg>
        <pc:grpChg chg="add mod">
          <ac:chgData name="Sassan Ahmadi" userId="185451f2-705f-4cb5-8981-49e1634a8ab1" providerId="ADAL" clId="{06270932-BD14-44BC-834E-107E8C2ABD03}" dt="2026-03-15T18:11:02.772" v="6946" actId="164"/>
          <ac:grpSpMkLst>
            <pc:docMk/>
            <pc:sldMk cId="1631941065" sldId="278"/>
            <ac:grpSpMk id="16" creationId="{14ABEF29-7274-7243-7A22-493D948F83F7}"/>
          </ac:grpSpMkLst>
        </pc:grpChg>
        <pc:picChg chg="del">
          <ac:chgData name="Sassan Ahmadi" userId="185451f2-705f-4cb5-8981-49e1634a8ab1" providerId="ADAL" clId="{06270932-BD14-44BC-834E-107E8C2ABD03}" dt="2026-03-15T16:08:18.557" v="6874" actId="478"/>
          <ac:picMkLst>
            <pc:docMk/>
            <pc:sldMk cId="1631941065" sldId="278"/>
            <ac:picMk id="3" creationId="{1BE973EB-00BA-7C51-A52C-635061F6FC55}"/>
          </ac:picMkLst>
        </pc:picChg>
        <pc:picChg chg="add mod topLvl">
          <ac:chgData name="Sassan Ahmadi" userId="185451f2-705f-4cb5-8981-49e1634a8ab1" providerId="ADAL" clId="{06270932-BD14-44BC-834E-107E8C2ABD03}" dt="2026-03-15T18:10:19.802" v="6944" actId="165"/>
          <ac:picMkLst>
            <pc:docMk/>
            <pc:sldMk cId="1631941065" sldId="278"/>
            <ac:picMk id="3" creationId="{973BAA3E-20F1-F16F-134E-37B83E4F41CC}"/>
          </ac:picMkLst>
        </pc:picChg>
        <pc:picChg chg="add del">
          <ac:chgData name="Sassan Ahmadi" userId="185451f2-705f-4cb5-8981-49e1634a8ab1" providerId="ADAL" clId="{06270932-BD14-44BC-834E-107E8C2ABD03}" dt="2026-03-15T16:14:48.014" v="6879" actId="478"/>
          <ac:picMkLst>
            <pc:docMk/>
            <pc:sldMk cId="1631941065" sldId="278"/>
            <ac:picMk id="5" creationId="{F43BA14B-E0BC-CDAC-B7E0-39AF0529E873}"/>
          </ac:picMkLst>
        </pc:picChg>
        <pc:picChg chg="del">
          <ac:chgData name="Sassan Ahmadi" userId="185451f2-705f-4cb5-8981-49e1634a8ab1" providerId="ADAL" clId="{06270932-BD14-44BC-834E-107E8C2ABD03}" dt="2026-03-15T16:08:15.128" v="6873" actId="478"/>
          <ac:picMkLst>
            <pc:docMk/>
            <pc:sldMk cId="1631941065" sldId="278"/>
            <ac:picMk id="6" creationId="{7FF8DC72-0181-9A6D-F3CD-8A4F93C91BC1}"/>
          </ac:picMkLst>
        </pc:picChg>
        <pc:picChg chg="add del">
          <ac:chgData name="Sassan Ahmadi" userId="185451f2-705f-4cb5-8981-49e1634a8ab1" providerId="ADAL" clId="{06270932-BD14-44BC-834E-107E8C2ABD03}" dt="2026-03-15T16:15:09.656" v="6881" actId="478"/>
          <ac:picMkLst>
            <pc:docMk/>
            <pc:sldMk cId="1631941065" sldId="278"/>
            <ac:picMk id="8" creationId="{D148FDC0-3AAE-1E75-0AF6-3CEA01657AF5}"/>
          </ac:picMkLst>
        </pc:picChg>
        <pc:picChg chg="add mod">
          <ac:chgData name="Sassan Ahmadi" userId="185451f2-705f-4cb5-8981-49e1634a8ab1" providerId="ADAL" clId="{06270932-BD14-44BC-834E-107E8C2ABD03}" dt="2026-03-15T18:11:02.772" v="6946" actId="164"/>
          <ac:picMkLst>
            <pc:docMk/>
            <pc:sldMk cId="1631941065" sldId="278"/>
            <ac:picMk id="13" creationId="{69DE118F-E3F4-F1AD-E876-B3F3A4A4907A}"/>
          </ac:picMkLst>
        </pc:picChg>
        <pc:picChg chg="add mod">
          <ac:chgData name="Sassan Ahmadi" userId="185451f2-705f-4cb5-8981-49e1634a8ab1" providerId="ADAL" clId="{06270932-BD14-44BC-834E-107E8C2ABD03}" dt="2026-03-15T18:11:02.772" v="6946" actId="164"/>
          <ac:picMkLst>
            <pc:docMk/>
            <pc:sldMk cId="1631941065" sldId="278"/>
            <ac:picMk id="14" creationId="{F9152D16-4623-3EE4-9458-9974094C09C2}"/>
          </ac:picMkLst>
        </pc:picChg>
        <pc:picChg chg="add mod ord">
          <ac:chgData name="Sassan Ahmadi" userId="185451f2-705f-4cb5-8981-49e1634a8ab1" providerId="ADAL" clId="{06270932-BD14-44BC-834E-107E8C2ABD03}" dt="2026-03-15T18:32:20.693" v="7062" actId="14100"/>
          <ac:picMkLst>
            <pc:docMk/>
            <pc:sldMk cId="1631941065" sldId="278"/>
            <ac:picMk id="15" creationId="{502CC3C4-C31B-91C4-7BB4-4F10DD210DC5}"/>
          </ac:picMkLst>
        </pc:picChg>
        <pc:picChg chg="del">
          <ac:chgData name="Sassan Ahmadi" userId="185451f2-705f-4cb5-8981-49e1634a8ab1" providerId="ADAL" clId="{06270932-BD14-44BC-834E-107E8C2ABD03}" dt="2026-03-15T16:08:26.740" v="6876" actId="478"/>
          <ac:picMkLst>
            <pc:docMk/>
            <pc:sldMk cId="1631941065" sldId="278"/>
            <ac:picMk id="18" creationId="{AA6F5477-FCF9-F8D3-2D55-045B87D041F2}"/>
          </ac:picMkLst>
        </pc:picChg>
        <pc:picChg chg="del">
          <ac:chgData name="Sassan Ahmadi" userId="185451f2-705f-4cb5-8981-49e1634a8ab1" providerId="ADAL" clId="{06270932-BD14-44BC-834E-107E8C2ABD03}" dt="2026-03-15T16:08:21.026" v="6875" actId="478"/>
          <ac:picMkLst>
            <pc:docMk/>
            <pc:sldMk cId="1631941065" sldId="278"/>
            <ac:picMk id="19" creationId="{FCEF63EF-40F7-5D13-3F17-3C2B4277B6D9}"/>
          </ac:picMkLst>
        </pc:picChg>
        <pc:picChg chg="mod ord">
          <ac:chgData name="Sassan Ahmadi" userId="185451f2-705f-4cb5-8981-49e1634a8ab1" providerId="ADAL" clId="{06270932-BD14-44BC-834E-107E8C2ABD03}" dt="2026-03-15T18:11:02.772" v="6946" actId="164"/>
          <ac:picMkLst>
            <pc:docMk/>
            <pc:sldMk cId="1631941065" sldId="278"/>
            <ac:picMk id="35" creationId="{15166C1E-B255-3454-BC23-7F203F24E53A}"/>
          </ac:picMkLst>
        </pc:picChg>
        <pc:cxnChg chg="add mod topLvl">
          <ac:chgData name="Sassan Ahmadi" userId="185451f2-705f-4cb5-8981-49e1634a8ab1" providerId="ADAL" clId="{06270932-BD14-44BC-834E-107E8C2ABD03}" dt="2026-03-15T18:10:19.802" v="6944" actId="165"/>
          <ac:cxnSpMkLst>
            <pc:docMk/>
            <pc:sldMk cId="1631941065" sldId="278"/>
            <ac:cxnSpMk id="6" creationId="{845065A1-0C92-6B52-FC08-C1EC8F0605B5}"/>
          </ac:cxnSpMkLst>
        </pc:cxnChg>
      </pc:sldChg>
      <pc:sldChg chg="addSp delSp modSp add mod ord modTransition modClrScheme chgLayout">
        <pc:chgData name="Sassan Ahmadi" userId="185451f2-705f-4cb5-8981-49e1634a8ab1" providerId="ADAL" clId="{06270932-BD14-44BC-834E-107E8C2ABD03}" dt="2026-03-15T18:46:45.024" v="7175" actId="790"/>
        <pc:sldMkLst>
          <pc:docMk/>
          <pc:sldMk cId="856917859" sldId="821"/>
        </pc:sldMkLst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2" creationId="{1191DDE1-8735-1C3A-0BBA-602D09016F5B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3" creationId="{EE8AE649-009A-D2FE-4A03-67B77A8D07AA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4" creationId="{3CD3E509-9443-91D0-486C-F333C5C7D221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7" creationId="{7F5C39DD-D9F2-950A-8DE5-656C7D0BC422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8" creationId="{A1063D37-5B59-945D-B255-D7C274531656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11" creationId="{68DE37A8-26AF-4B6F-8FBE-24DBA01E19A2}"/>
          </ac:spMkLst>
        </pc:spChg>
        <pc:spChg chg="add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13" creationId="{28833658-85ED-C5CF-3323-EFF55FDAB2C6}"/>
          </ac:spMkLst>
        </pc:spChg>
        <pc:spChg chg="add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14" creationId="{94876E1A-2AB0-0D82-2284-84EBE59CB1E5}"/>
          </ac:spMkLst>
        </pc:spChg>
        <pc:spChg chg="add mod">
          <ac:chgData name="Sassan Ahmadi" userId="185451f2-705f-4cb5-8981-49e1634a8ab1" providerId="ADAL" clId="{06270932-BD14-44BC-834E-107E8C2ABD03}" dt="2026-03-11T21:50:22.964" v="6293" actId="14100"/>
          <ac:spMkLst>
            <pc:docMk/>
            <pc:sldMk cId="856917859" sldId="821"/>
            <ac:spMk id="15" creationId="{A6A9E5C8-3093-794A-8546-BFB6BF40EB40}"/>
          </ac:spMkLst>
        </pc:spChg>
        <pc:spChg chg="add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16" creationId="{A246D5C4-22DB-B03A-3FFD-E0C3271CDD41}"/>
          </ac:spMkLst>
        </pc:spChg>
        <pc:spChg chg="add 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856917859" sldId="821"/>
            <ac:spMk id="17" creationId="{8EC57BA8-1E17-9631-ECAB-958C39A7401A}"/>
          </ac:spMkLst>
        </pc:spChg>
        <pc:picChg chg="mod ord">
          <ac:chgData name="Sassan Ahmadi" userId="185451f2-705f-4cb5-8981-49e1634a8ab1" providerId="ADAL" clId="{06270932-BD14-44BC-834E-107E8C2ABD03}" dt="2026-03-11T21:51:02.663" v="6295" actId="700"/>
          <ac:picMkLst>
            <pc:docMk/>
            <pc:sldMk cId="856917859" sldId="821"/>
            <ac:picMk id="5" creationId="{A64D7318-043B-71AF-6E34-042A9E8FC931}"/>
          </ac:picMkLst>
        </pc:picChg>
        <pc:picChg chg="mod">
          <ac:chgData name="Sassan Ahmadi" userId="185451f2-705f-4cb5-8981-49e1634a8ab1" providerId="ADAL" clId="{06270932-BD14-44BC-834E-107E8C2ABD03}" dt="2026-03-11T21:48:16.453" v="6263" actId="1076"/>
          <ac:picMkLst>
            <pc:docMk/>
            <pc:sldMk cId="856917859" sldId="821"/>
            <ac:picMk id="10" creationId="{0DFFBE4E-561F-BCB5-542D-43AE27F467B2}"/>
          </ac:picMkLst>
        </pc:picChg>
        <pc:picChg chg="add mod">
          <ac:chgData name="Sassan Ahmadi" userId="185451f2-705f-4cb5-8981-49e1634a8ab1" providerId="ADAL" clId="{06270932-BD14-44BC-834E-107E8C2ABD03}" dt="2026-03-11T21:29:56.710" v="6218" actId="1076"/>
          <ac:picMkLst>
            <pc:docMk/>
            <pc:sldMk cId="856917859" sldId="821"/>
            <ac:picMk id="12" creationId="{CAB614AC-50F8-F81A-AE79-312413FF992D}"/>
          </ac:picMkLst>
        </pc:picChg>
      </pc:sldChg>
      <pc:sldChg chg="addSp delSp modSp mod modTransition modClrScheme chgLayout modNotesTx">
        <pc:chgData name="Sassan Ahmadi" userId="185451f2-705f-4cb5-8981-49e1634a8ab1" providerId="ADAL" clId="{06270932-BD14-44BC-834E-107E8C2ABD03}" dt="2026-03-15T18:46:45.024" v="7175" actId="790"/>
        <pc:sldMkLst>
          <pc:docMk/>
          <pc:sldMk cId="3025664643" sldId="2147470389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25664643" sldId="2147470389"/>
            <ac:spMk id="2" creationId="{F01EE8D4-1A2C-0DAE-47C0-776C9861C99C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025664643" sldId="2147470389"/>
            <ac:spMk id="13" creationId="{516984D0-1BA5-F4BE-7BD1-BE472B254024}"/>
          </ac:spMkLst>
        </pc:spChg>
      </pc:sldChg>
      <pc:sldChg chg="modSp add mod modTransition">
        <pc:chgData name="Sassan Ahmadi" userId="185451f2-705f-4cb5-8981-49e1634a8ab1" providerId="ADAL" clId="{06270932-BD14-44BC-834E-107E8C2ABD03}" dt="2026-03-15T18:46:45.024" v="7175" actId="790"/>
        <pc:sldMkLst>
          <pc:docMk/>
          <pc:sldMk cId="2806437622" sldId="2147470746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806437622" sldId="2147470746"/>
            <ac:spMk id="2" creationId="{C6092F73-1335-D808-0F02-0C76EFB9BB3D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806437622" sldId="2147470746"/>
            <ac:spMk id="4" creationId="{AD9AAD72-B1DD-1EAB-B5C8-CAA73BE36A6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806437622" sldId="2147470746"/>
            <ac:spMk id="6" creationId="{41C5F9D5-209E-9DB2-6837-7C292488CA04}"/>
          </ac:spMkLst>
        </pc:spChg>
      </pc:sldChg>
      <pc:sldChg chg="add modTransition">
        <pc:chgData name="Sassan Ahmadi" userId="185451f2-705f-4cb5-8981-49e1634a8ab1" providerId="ADAL" clId="{06270932-BD14-44BC-834E-107E8C2ABD03}" dt="2026-03-13T20:23:29.019" v="6761"/>
        <pc:sldMkLst>
          <pc:docMk/>
          <pc:sldMk cId="3080225167" sldId="2147481021"/>
        </pc:sldMkLst>
      </pc:sldChg>
      <pc:sldChg chg="modSp add mod modTransition">
        <pc:chgData name="Sassan Ahmadi" userId="185451f2-705f-4cb5-8981-49e1634a8ab1" providerId="ADAL" clId="{06270932-BD14-44BC-834E-107E8C2ABD03}" dt="2026-03-15T18:46:45.024" v="7175" actId="790"/>
        <pc:sldMkLst>
          <pc:docMk/>
          <pc:sldMk cId="3609601246" sldId="2147481033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609601246" sldId="2147481033"/>
            <ac:spMk id="5" creationId="{EB12DDAE-72C5-76AC-4F26-4C266AE9F2BB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609601246" sldId="2147481033"/>
            <ac:spMk id="7" creationId="{C389B8D1-5A4B-49AA-16AD-C8FF51588C9E}"/>
          </ac:spMkLst>
        </pc:spChg>
      </pc:sldChg>
      <pc:sldChg chg="modSp add mod ord modTransition modAnim">
        <pc:chgData name="Sassan Ahmadi" userId="185451f2-705f-4cb5-8981-49e1634a8ab1" providerId="ADAL" clId="{06270932-BD14-44BC-834E-107E8C2ABD03}" dt="2026-03-15T18:46:45.024" v="7175" actId="790"/>
        <pc:sldMkLst>
          <pc:docMk/>
          <pc:sldMk cId="293893451" sldId="2147481035"/>
        </pc:sldMkLst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93893451" sldId="2147481035"/>
            <ac:spMk id="2" creationId="{7E8099B8-2CF4-6262-0030-7FA42F17F91C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293893451" sldId="2147481035"/>
            <ac:spMk id="5" creationId="{FE81270B-BADF-67FC-83E7-9914A47C823A}"/>
          </ac:spMkLst>
        </pc:spChg>
      </pc:sldChg>
      <pc:sldChg chg="addSp delSp modSp add mod ord modTransition modAnim">
        <pc:chgData name="Sassan Ahmadi" userId="185451f2-705f-4cb5-8981-49e1634a8ab1" providerId="ADAL" clId="{06270932-BD14-44BC-834E-107E8C2ABD03}" dt="2026-03-15T18:46:45.024" v="7175" actId="790"/>
        <pc:sldMkLst>
          <pc:docMk/>
          <pc:sldMk cId="3472342915" sldId="2147481036"/>
        </pc:sldMkLst>
        <pc:spChg chg="mod or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472342915" sldId="2147481036"/>
            <ac:spMk id="2" creationId="{FF548145-EDE5-0531-FF9A-7721C299D033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472342915" sldId="2147481036"/>
            <ac:spMk id="3" creationId="{D03EE86D-344E-B8A7-2397-3FD9D71ACF8F}"/>
          </ac:spMkLst>
        </pc:spChg>
        <pc:spChg chg="mod">
          <ac:chgData name="Sassan Ahmadi" userId="185451f2-705f-4cb5-8981-49e1634a8ab1" providerId="ADAL" clId="{06270932-BD14-44BC-834E-107E8C2ABD03}" dt="2026-03-15T18:46:45.024" v="7175" actId="790"/>
          <ac:spMkLst>
            <pc:docMk/>
            <pc:sldMk cId="3472342915" sldId="2147481036"/>
            <ac:spMk id="4" creationId="{709E3B12-ED8C-EE5B-56EE-56DA5D822A51}"/>
          </ac:spMkLst>
        </pc:spChg>
        <pc:picChg chg="del">
          <ac:chgData name="Sassan Ahmadi" userId="185451f2-705f-4cb5-8981-49e1634a8ab1" providerId="ADAL" clId="{06270932-BD14-44BC-834E-107E8C2ABD03}" dt="2026-03-15T18:40:45.889" v="7091" actId="478"/>
          <ac:picMkLst>
            <pc:docMk/>
            <pc:sldMk cId="3472342915" sldId="2147481036"/>
            <ac:picMk id="5" creationId="{1AAAC8FE-05DC-F5A3-70F2-31C72DC805B8}"/>
          </ac:picMkLst>
        </pc:picChg>
        <pc:picChg chg="add mod">
          <ac:chgData name="Sassan Ahmadi" userId="185451f2-705f-4cb5-8981-49e1634a8ab1" providerId="ADAL" clId="{06270932-BD14-44BC-834E-107E8C2ABD03}" dt="2026-03-15T18:41:51.057" v="7172" actId="12789"/>
          <ac:picMkLst>
            <pc:docMk/>
            <pc:sldMk cId="3472342915" sldId="2147481036"/>
            <ac:picMk id="1026" creationId="{5444CA46-9086-A2AB-879B-251E6E5C06DE}"/>
          </ac:picMkLst>
        </pc:picChg>
      </pc:sldChg>
      <pc:sldChg chg="addSp delSp modSp add mod ord">
        <pc:chgData name="Sassan Ahmadi" userId="185451f2-705f-4cb5-8981-49e1634a8ab1" providerId="ADAL" clId="{06270932-BD14-44BC-834E-107E8C2ABD03}" dt="2026-03-16T16:13:56.550" v="7570"/>
        <pc:sldMkLst>
          <pc:docMk/>
          <pc:sldMk cId="3096798177" sldId="2147481976"/>
        </pc:sldMkLst>
        <pc:spChg chg="mod">
          <ac:chgData name="Sassan Ahmadi" userId="185451f2-705f-4cb5-8981-49e1634a8ab1" providerId="ADAL" clId="{06270932-BD14-44BC-834E-107E8C2ABD03}" dt="2026-03-16T16:06:40.053" v="7523" actId="20577"/>
          <ac:spMkLst>
            <pc:docMk/>
            <pc:sldMk cId="3096798177" sldId="2147481976"/>
            <ac:spMk id="2" creationId="{683355B2-86B2-D168-241D-91653A530861}"/>
          </ac:spMkLst>
        </pc:spChg>
        <pc:spChg chg="del">
          <ac:chgData name="Sassan Ahmadi" userId="185451f2-705f-4cb5-8981-49e1634a8ab1" providerId="ADAL" clId="{06270932-BD14-44BC-834E-107E8C2ABD03}" dt="2026-03-16T16:02:05.939" v="7411" actId="478"/>
          <ac:spMkLst>
            <pc:docMk/>
            <pc:sldMk cId="3096798177" sldId="2147481976"/>
            <ac:spMk id="3" creationId="{516E8E9B-C8E1-C3E8-CDAF-C9B17D7B5E7D}"/>
          </ac:spMkLst>
        </pc:spChg>
        <pc:spChg chg="mod">
          <ac:chgData name="Sassan Ahmadi" userId="185451f2-705f-4cb5-8981-49e1634a8ab1" providerId="ADAL" clId="{06270932-BD14-44BC-834E-107E8C2ABD03}" dt="2026-03-16T16:08:14.015" v="7558" actId="20577"/>
          <ac:spMkLst>
            <pc:docMk/>
            <pc:sldMk cId="3096798177" sldId="2147481976"/>
            <ac:spMk id="12" creationId="{095025EF-964F-20A2-6E01-398A3CF1284A}"/>
          </ac:spMkLst>
        </pc:spChg>
        <pc:spChg chg="mod">
          <ac:chgData name="Sassan Ahmadi" userId="185451f2-705f-4cb5-8981-49e1634a8ab1" providerId="ADAL" clId="{06270932-BD14-44BC-834E-107E8C2ABD03}" dt="2026-03-16T16:03:28.204" v="7434" actId="20577"/>
          <ac:spMkLst>
            <pc:docMk/>
            <pc:sldMk cId="3096798177" sldId="2147481976"/>
            <ac:spMk id="13" creationId="{BA759CA3-BFA5-BFBC-3570-11D9CF6BB574}"/>
          </ac:spMkLst>
        </pc:spChg>
        <pc:spChg chg="mod">
          <ac:chgData name="Sassan Ahmadi" userId="185451f2-705f-4cb5-8981-49e1634a8ab1" providerId="ADAL" clId="{06270932-BD14-44BC-834E-107E8C2ABD03}" dt="2026-03-16T16:07:10.770" v="7527" actId="20577"/>
          <ac:spMkLst>
            <pc:docMk/>
            <pc:sldMk cId="3096798177" sldId="2147481976"/>
            <ac:spMk id="14" creationId="{6CAECCF5-4D34-A56A-6118-340CC2FADB30}"/>
          </ac:spMkLst>
        </pc:spChg>
        <pc:spChg chg="mod">
          <ac:chgData name="Sassan Ahmadi" userId="185451f2-705f-4cb5-8981-49e1634a8ab1" providerId="ADAL" clId="{06270932-BD14-44BC-834E-107E8C2ABD03}" dt="2026-03-16T16:07:06.945" v="7525" actId="20577"/>
          <ac:spMkLst>
            <pc:docMk/>
            <pc:sldMk cId="3096798177" sldId="2147481976"/>
            <ac:spMk id="16" creationId="{7FCDCB45-F7F6-8EA9-DD89-EFE57901D5F2}"/>
          </ac:spMkLst>
        </pc:spChg>
        <pc:spChg chg="mod">
          <ac:chgData name="Sassan Ahmadi" userId="185451f2-705f-4cb5-8981-49e1634a8ab1" providerId="ADAL" clId="{06270932-BD14-44BC-834E-107E8C2ABD03}" dt="2026-03-16T16:08:58.556" v="7559" actId="1076"/>
          <ac:spMkLst>
            <pc:docMk/>
            <pc:sldMk cId="3096798177" sldId="2147481976"/>
            <ac:spMk id="28" creationId="{5F00940F-C5D3-0DAB-8304-86DCB30BEA3A}"/>
          </ac:spMkLst>
        </pc:spChg>
        <pc:spChg chg="mod">
          <ac:chgData name="Sassan Ahmadi" userId="185451f2-705f-4cb5-8981-49e1634a8ab1" providerId="ADAL" clId="{06270932-BD14-44BC-834E-107E8C2ABD03}" dt="2026-03-16T16:01:30.415" v="7407" actId="207"/>
          <ac:spMkLst>
            <pc:docMk/>
            <pc:sldMk cId="3096798177" sldId="2147481976"/>
            <ac:spMk id="32" creationId="{EBDED636-A2BD-B719-9978-6D9085A8850F}"/>
          </ac:spMkLst>
        </pc:spChg>
        <pc:spChg chg="mod">
          <ac:chgData name="Sassan Ahmadi" userId="185451f2-705f-4cb5-8981-49e1634a8ab1" providerId="ADAL" clId="{06270932-BD14-44BC-834E-107E8C2ABD03}" dt="2026-03-16T16:09:08.223" v="7561" actId="14100"/>
          <ac:spMkLst>
            <pc:docMk/>
            <pc:sldMk cId="3096798177" sldId="2147481976"/>
            <ac:spMk id="36" creationId="{56E32271-4529-74CD-FD2F-C25EC6D8866D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46" creationId="{A5B51D47-A8B3-0553-E4C1-1FD7947558E2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47" creationId="{65C359FC-CBA9-68AE-09AE-8661D32227DB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48" creationId="{86828084-94F3-1FBE-4F1A-FCD9861B7264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49" creationId="{0EAEFC3D-C0FB-9445-7C5F-1D7057D73307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50" creationId="{60B354C9-6B83-D0CA-157E-1A624CEABFB8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51" creationId="{24437EEA-F87F-077A-2C8C-7E54AA07938F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52" creationId="{8EF065D4-687D-79EA-602F-A1AF23B965F3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53" creationId="{DF50C596-F2AF-E268-6F88-CC12ECD2F7E7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54" creationId="{A0FC4AC2-AEE1-6CB3-F4FF-C7BB673E1696}"/>
          </ac:spMkLst>
        </pc:spChg>
        <pc:spChg chg="mod">
          <ac:chgData name="Sassan Ahmadi" userId="185451f2-705f-4cb5-8981-49e1634a8ab1" providerId="ADAL" clId="{06270932-BD14-44BC-834E-107E8C2ABD03}" dt="2026-03-16T16:05:23.394" v="7436" actId="208"/>
          <ac:spMkLst>
            <pc:docMk/>
            <pc:sldMk cId="3096798177" sldId="2147481976"/>
            <ac:spMk id="55" creationId="{3FAFFAEE-234C-E9BC-37C7-0B2D2D98F3B9}"/>
          </ac:spMkLst>
        </pc:spChg>
        <pc:picChg chg="mod">
          <ac:chgData name="Sassan Ahmadi" userId="185451f2-705f-4cb5-8981-49e1634a8ab1" providerId="ADAL" clId="{06270932-BD14-44BC-834E-107E8C2ABD03}" dt="2026-03-16T16:01:16.905" v="7404" actId="1076"/>
          <ac:picMkLst>
            <pc:docMk/>
            <pc:sldMk cId="3096798177" sldId="2147481976"/>
            <ac:picMk id="20" creationId="{45A5A46C-6BCE-884C-5AED-48DE89B6FFBF}"/>
          </ac:picMkLst>
        </pc:picChg>
        <pc:picChg chg="mod">
          <ac:chgData name="Sassan Ahmadi" userId="185451f2-705f-4cb5-8981-49e1634a8ab1" providerId="ADAL" clId="{06270932-BD14-44BC-834E-107E8C2ABD03}" dt="2026-03-16T16:01:22.890" v="7406" actId="1076"/>
          <ac:picMkLst>
            <pc:docMk/>
            <pc:sldMk cId="3096798177" sldId="2147481976"/>
            <ac:picMk id="22" creationId="{8CEE8443-3D8E-9E1C-EF94-A3DA0C7D58F6}"/>
          </ac:picMkLst>
        </pc:picChg>
        <pc:picChg chg="mod">
          <ac:chgData name="Sassan Ahmadi" userId="185451f2-705f-4cb5-8981-49e1634a8ab1" providerId="ADAL" clId="{06270932-BD14-44BC-834E-107E8C2ABD03}" dt="2026-03-16T16:02:59.859" v="7415" actId="1076"/>
          <ac:picMkLst>
            <pc:docMk/>
            <pc:sldMk cId="3096798177" sldId="2147481976"/>
            <ac:picMk id="25" creationId="{7C15A3D8-4CB2-27F5-56A7-658FD25FF291}"/>
          </ac:picMkLst>
        </pc:picChg>
        <pc:picChg chg="mod">
          <ac:chgData name="Sassan Ahmadi" userId="185451f2-705f-4cb5-8981-49e1634a8ab1" providerId="ADAL" clId="{06270932-BD14-44BC-834E-107E8C2ABD03}" dt="2026-03-16T16:03:09.930" v="7416" actId="1076"/>
          <ac:picMkLst>
            <pc:docMk/>
            <pc:sldMk cId="3096798177" sldId="2147481976"/>
            <ac:picMk id="26" creationId="{39525BC8-03CD-5A82-4260-79F0CC7B9AA8}"/>
          </ac:picMkLst>
        </pc:picChg>
        <pc:picChg chg="mod">
          <ac:chgData name="Sassan Ahmadi" userId="185451f2-705f-4cb5-8981-49e1634a8ab1" providerId="ADAL" clId="{06270932-BD14-44BC-834E-107E8C2ABD03}" dt="2026-03-16T16:02:33.053" v="7412" actId="207"/>
          <ac:picMkLst>
            <pc:docMk/>
            <pc:sldMk cId="3096798177" sldId="2147481976"/>
            <ac:picMk id="35" creationId="{29D55608-BE1C-BBCB-F2B5-022CE1358D26}"/>
          </ac:picMkLst>
        </pc:picChg>
        <pc:picChg chg="mod">
          <ac:chgData name="Sassan Ahmadi" userId="185451f2-705f-4cb5-8981-49e1634a8ab1" providerId="ADAL" clId="{06270932-BD14-44BC-834E-107E8C2ABD03}" dt="2026-03-16T16:09:19.723" v="7562" actId="1076"/>
          <ac:picMkLst>
            <pc:docMk/>
            <pc:sldMk cId="3096798177" sldId="2147481976"/>
            <ac:picMk id="77" creationId="{1BFDBBA6-8C21-93EA-3AA0-F5A8BC25E33C}"/>
          </ac:picMkLst>
        </pc:picChg>
        <pc:picChg chg="add mod">
          <ac:chgData name="Sassan Ahmadi" userId="185451f2-705f-4cb5-8981-49e1634a8ab1" providerId="ADAL" clId="{06270932-BD14-44BC-834E-107E8C2ABD03}" dt="2026-03-16T16:13:20.912" v="7568" actId="1076"/>
          <ac:picMkLst>
            <pc:docMk/>
            <pc:sldMk cId="3096798177" sldId="2147481976"/>
            <ac:picMk id="1026" creationId="{40F3EB1B-A640-76F1-10B9-B5D1B2DCFC6F}"/>
          </ac:picMkLst>
        </pc:picChg>
      </pc:sldChg>
      <pc:sldMasterChg chg="modSldLayout">
        <pc:chgData name="Sassan Ahmadi" userId="185451f2-705f-4cb5-8981-49e1634a8ab1" providerId="ADAL" clId="{06270932-BD14-44BC-834E-107E8C2ABD03}" dt="2026-03-09T01:45:57.982" v="6128" actId="403"/>
        <pc:sldMasterMkLst>
          <pc:docMk/>
          <pc:sldMasterMk cId="2502911362" sldId="2147483860"/>
        </pc:sldMasterMkLst>
        <pc:sldLayoutChg chg="modSp mod">
          <pc:chgData name="Sassan Ahmadi" userId="185451f2-705f-4cb5-8981-49e1634a8ab1" providerId="ADAL" clId="{06270932-BD14-44BC-834E-107E8C2ABD03}" dt="2026-03-09T01:45:57.982" v="6128" actId="403"/>
          <pc:sldLayoutMkLst>
            <pc:docMk/>
            <pc:sldMasterMk cId="2502911362" sldId="2147483860"/>
            <pc:sldLayoutMk cId="4022319738" sldId="2147483890"/>
          </pc:sldLayoutMkLst>
          <pc:spChg chg="mod">
            <ac:chgData name="Sassan Ahmadi" userId="185451f2-705f-4cb5-8981-49e1634a8ab1" providerId="ADAL" clId="{06270932-BD14-44BC-834E-107E8C2ABD03}" dt="2026-03-09T01:45:57.982" v="6128" actId="403"/>
            <ac:spMkLst>
              <pc:docMk/>
              <pc:sldMasterMk cId="2502911362" sldId="2147483860"/>
              <pc:sldLayoutMk cId="4022319738" sldId="2147483890"/>
              <ac:spMk id="13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901440" cy="481726"/>
          </a:xfrm>
          <a:prstGeom prst="rect">
            <a:avLst/>
          </a:prstGeom>
        </p:spPr>
        <p:txBody>
          <a:bodyPr vert="horz" lIns="193322" tIns="193322" rIns="193322" bIns="193322" rtlCol="0" anchor="b"/>
          <a:lstStyle>
            <a:lvl1pPr algn="l">
              <a:defRPr sz="13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339840" y="9119474"/>
            <a:ext cx="975360" cy="481726"/>
          </a:xfrm>
          <a:prstGeom prst="rect">
            <a:avLst/>
          </a:prstGeom>
        </p:spPr>
        <p:txBody>
          <a:bodyPr vert="horz" lIns="193322" tIns="193322" rIns="193322" bIns="193322" rtlCol="0" anchor="b"/>
          <a:lstStyle>
            <a:lvl1pPr algn="r">
              <a:defRPr sz="1300"/>
            </a:lvl1pPr>
          </a:lstStyle>
          <a:p>
            <a:fld id="{836D5859-1D5A-48C7-BA8C-83EF8FC1CBCA}" type="slidenum"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2613" y="960438"/>
            <a:ext cx="6149975" cy="3459162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8644" y="4620577"/>
            <a:ext cx="6217921" cy="378047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9119474"/>
            <a:ext cx="3901440" cy="481726"/>
          </a:xfrm>
          <a:prstGeom prst="rect">
            <a:avLst/>
          </a:prstGeom>
        </p:spPr>
        <p:txBody>
          <a:bodyPr vert="horz" wrap="square" lIns="193322" tIns="193322" rIns="193322" bIns="193322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39840" y="9119474"/>
            <a:ext cx="975360" cy="481726"/>
          </a:xfrm>
          <a:prstGeom prst="rect">
            <a:avLst/>
          </a:prstGeom>
        </p:spPr>
        <p:txBody>
          <a:bodyPr vert="horz" lIns="193322" tIns="193322" rIns="193322" bIns="193322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llo, my name is Sassan Ahmadi, and I am with Keysight Technologies. In this webinar, we are going to talk about </a:t>
            </a:r>
            <a:r>
              <a:rPr lang="en-US" sz="1200" noProof="0" dirty="0"/>
              <a:t>Design and Validation of 5G/6G NTN systems using RF Digital Twi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333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29009D-93FA-5A63-835C-19B9C5C041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4D4392-3A10-FB5F-D255-0342E009EE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0BD3A-D01B-C733-121D-868B63108E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12CE5-2FB3-BC1E-2867-7BA15D5C3F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219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851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079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88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4B1D7-55F5-5891-F57A-BA66240632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D33472-A5B5-8AA9-19D4-3ECBABD861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C8E1B3-E934-3B48-A571-48193BD6C8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C1C58-FD87-B1CB-88B6-6CA84E05CC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0ACE4-166A-4298-91CE-3DE312F8BB8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869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TNs are becoming essential for bridging terrestrial and satellite communication in 5G and 6G. Key challenges include spectrum coexistence, link-budget realism, interference modeling, and RF impairments. SystemVue offers a high-fidelity, multi-domain digital-twin platform for accurate modeling of RF, baseband, phased arrays, and space channels. Using these capabilities, engineers can evaluate architecture choices, optimize performance, and validate complete NTN physical-layer designs under realistic environmental and hardware condit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25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598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p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718F4CA2-E45A-FD25-41BA-21648D3182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5261C7FF-8BC3-25DC-F421-F8C1B0AE6F3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420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76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TAR Bulle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AB10A-2D9E-D86B-8AF9-6292688C2547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0506AE39-641A-E1D4-3E8D-8C11EA93A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6022975"/>
            <a:ext cx="8382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00" dirty="0">
                <a:solidFill>
                  <a:srgbClr val="7F7F7F"/>
                </a:solidFill>
              </a:rPr>
              <a:t>The information contained on this slide is controlled under the International Traffic in Arms Regulations (ITAR). Diversion contrary to U.S. law is prohibited. </a:t>
            </a:r>
            <a:br>
              <a:rPr lang="en-US" altLang="en-US" sz="900" dirty="0">
                <a:solidFill>
                  <a:srgbClr val="7F7F7F"/>
                </a:solidFill>
              </a:rPr>
            </a:br>
            <a:r>
              <a:rPr lang="en-US" altLang="en-US" sz="900" dirty="0">
                <a:solidFill>
                  <a:srgbClr val="7F7F7F"/>
                </a:solidFill>
              </a:rPr>
              <a:t>U.S. Department of State authorization is required prior to export, re-export, transfer, or retransfer to foreign persons or parties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10DE3C6-A5B5-52B4-441A-D5FD5E04A5A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CF55F94D-F66F-153A-5E5D-86946943B9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3602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AR Bulle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D6EAF-5363-2C8B-EEA6-E53DFF2D12A6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49EDD048-919A-789F-3342-951B9163A7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6022975"/>
            <a:ext cx="8382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00" dirty="0">
                <a:solidFill>
                  <a:srgbClr val="7F7F7F"/>
                </a:solidFill>
              </a:rPr>
              <a:t>The information contained on this slide is subject to the Export Administration Regulations (EAR). Diversion contrary to U.S. law is prohibited. </a:t>
            </a:r>
            <a:br>
              <a:rPr lang="en-US" altLang="en-US" sz="900" dirty="0">
                <a:solidFill>
                  <a:srgbClr val="7F7F7F"/>
                </a:solidFill>
              </a:rPr>
            </a:br>
            <a:r>
              <a:rPr lang="en-US" altLang="en-US" sz="900" dirty="0">
                <a:solidFill>
                  <a:srgbClr val="7F7F7F"/>
                </a:solidFill>
              </a:rPr>
              <a:t>U.S. Department of Commerce authorization may be required prior to export, re-export, transfer, or retransfer to certain destinations or foreign persons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E97362C-F15F-3CDD-B22F-1F5C5FABDCA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7286FDC4-6D39-4079-5414-ECA6C23AA64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1760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Divider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4CB6305E-76C3-2E4E-E372-EF9CD5E67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50392" y="376346"/>
            <a:ext cx="9553902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FCF11FD-1511-793A-DE03-73648ED9E4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E425141F-D062-F358-106F-283292950C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221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4"/>
          </p:nvPr>
        </p:nvSpPr>
        <p:spPr>
          <a:xfrm>
            <a:off x="694944" y="1957388"/>
            <a:ext cx="10643616" cy="3785616"/>
          </a:xfrm>
          <a:prstGeom prst="rect">
            <a:avLst/>
          </a:prstGeom>
        </p:spPr>
        <p:txBody>
          <a:bodyPr lIns="0"/>
          <a:lstStyle>
            <a:lvl1pPr marL="182880" indent="-182880"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5760" indent="-182880">
              <a:buClr>
                <a:schemeClr val="bg1"/>
              </a:buClr>
              <a:defRPr lang="en-US" sz="1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0352" indent="-164592">
              <a:buClr>
                <a:schemeClr val="bg1"/>
              </a:buClr>
              <a:defRPr lang="en-US" sz="1600" kern="1200" spc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7388" indent="-171450">
              <a:buClr>
                <a:schemeClr val="bg1"/>
              </a:buClr>
              <a:defRPr lang="en-US" sz="1400" b="0" kern="1200" cap="none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8837" indent="-171450">
              <a:buClr>
                <a:schemeClr val="bg1"/>
              </a:buClr>
              <a:defRPr lang="en-US" sz="1200" b="0" kern="1200" cap="none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8B0D9C8-F3F4-1CC6-094A-41846DBCEDCE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2026C723-2FF2-C399-F6F2-C5B0656D2C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89174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Divider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C05CB7C-AB1F-3B12-2CC9-808B89EACCA9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9A4917B-129F-883D-AD04-A2C95043EF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8B5A68E-1C57-BDEA-00A2-8F37749C6E29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544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6" userDrawn="1">
          <p15:clr>
            <a:srgbClr val="FBAE40"/>
          </p15:clr>
        </p15:guide>
        <p15:guide id="2" pos="43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9262E45-06B6-6A92-426C-9DDFE977EE72}"/>
              </a:ext>
            </a:extLst>
          </p:cNvPr>
          <p:cNvCxnSpPr>
            <a:cxnSpLocks/>
          </p:cNvCxnSpPr>
          <p:nvPr/>
        </p:nvCxnSpPr>
        <p:spPr>
          <a:xfrm>
            <a:off x="1736725" y="3857625"/>
            <a:ext cx="3287713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9F8BF04-455B-FC53-0738-09599AF8F676}"/>
              </a:ext>
            </a:extLst>
          </p:cNvPr>
          <p:cNvCxnSpPr>
            <a:cxnSpLocks/>
          </p:cNvCxnSpPr>
          <p:nvPr/>
        </p:nvCxnSpPr>
        <p:spPr>
          <a:xfrm>
            <a:off x="8058150" y="3857625"/>
            <a:ext cx="3287713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51339" y="3998913"/>
            <a:ext cx="884764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7"/>
          <p:cNvSpPr>
            <a:spLocks noGrp="1"/>
          </p:cNvSpPr>
          <p:nvPr>
            <p:ph type="body" sz="quarter" idx="18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9"/>
          <p:cNvSpPr>
            <a:spLocks noGrp="1"/>
          </p:cNvSpPr>
          <p:nvPr>
            <p:ph type="body" sz="quarter" idx="20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19EE529-279B-5223-065F-0B2909BA29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055499FD-2905-0D47-CFE9-B0220E4462F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537A066-47BF-90AA-43A7-927B27D6FE03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55CA4BC-8A94-9459-9546-AC1DEF7C227E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01AA9C1-844E-E8C2-F47F-904906F16A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28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CAEBE51-4A99-B51A-F2DC-FD40AE627BAD}"/>
              </a:ext>
            </a:extLst>
          </p:cNvPr>
          <p:cNvCxnSpPr>
            <a:cxnSpLocks/>
          </p:cNvCxnSpPr>
          <p:nvPr/>
        </p:nvCxnSpPr>
        <p:spPr>
          <a:xfrm>
            <a:off x="1736725" y="3857625"/>
            <a:ext cx="3287713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95C46E-EF09-8A4D-FFBB-3244664A5FDB}"/>
              </a:ext>
            </a:extLst>
          </p:cNvPr>
          <p:cNvCxnSpPr>
            <a:cxnSpLocks/>
          </p:cNvCxnSpPr>
          <p:nvPr/>
        </p:nvCxnSpPr>
        <p:spPr>
          <a:xfrm>
            <a:off x="8058150" y="3857625"/>
            <a:ext cx="3287713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51339" y="3998913"/>
            <a:ext cx="884764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17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7"/>
          <p:cNvSpPr>
            <a:spLocks noGrp="1"/>
          </p:cNvSpPr>
          <p:nvPr>
            <p:ph type="body" sz="quarter" idx="18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20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54CD0B84-ACD7-AB9D-4A31-B9CAF37013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28308258-4137-A355-B16A-E2804FDCB16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0F10E4-2DC4-49AE-CFC8-18DBF30F537F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595924-EF00-D17F-F81F-F5B995F3D855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ACF099DC-068F-3ABA-3082-30CDD81DF9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995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280BED5-3609-03E6-A226-0F71C784FD4A}"/>
              </a:ext>
            </a:extLst>
          </p:cNvPr>
          <p:cNvCxnSpPr>
            <a:cxnSpLocks/>
          </p:cNvCxnSpPr>
          <p:nvPr/>
        </p:nvCxnSpPr>
        <p:spPr>
          <a:xfrm>
            <a:off x="1616075" y="3484563"/>
            <a:ext cx="1539875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581CB78-4B09-8D30-03BC-042FD4B22CA9}"/>
              </a:ext>
            </a:extLst>
          </p:cNvPr>
          <p:cNvCxnSpPr>
            <a:cxnSpLocks/>
          </p:cNvCxnSpPr>
          <p:nvPr/>
        </p:nvCxnSpPr>
        <p:spPr>
          <a:xfrm>
            <a:off x="4349750" y="3484563"/>
            <a:ext cx="1538288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A334317-4DEE-0C2C-46E1-F00B67952BD5}"/>
              </a:ext>
            </a:extLst>
          </p:cNvPr>
          <p:cNvCxnSpPr>
            <a:cxnSpLocks/>
          </p:cNvCxnSpPr>
          <p:nvPr/>
        </p:nvCxnSpPr>
        <p:spPr>
          <a:xfrm>
            <a:off x="7086600" y="3484563"/>
            <a:ext cx="1539875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9B7F78-9F8B-B9B8-0572-6056AB1A8835}"/>
              </a:ext>
            </a:extLst>
          </p:cNvPr>
          <p:cNvCxnSpPr>
            <a:cxnSpLocks/>
          </p:cNvCxnSpPr>
          <p:nvPr/>
        </p:nvCxnSpPr>
        <p:spPr>
          <a:xfrm>
            <a:off x="9820275" y="3484563"/>
            <a:ext cx="1539875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61586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645176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17"/>
          </p:nvPr>
        </p:nvSpPr>
        <p:spPr>
          <a:xfrm>
            <a:off x="359375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4377344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587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93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37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170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375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6328622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7112212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2862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7"/>
          <p:cNvSpPr>
            <a:spLocks noGrp="1"/>
          </p:cNvSpPr>
          <p:nvPr>
            <p:ph type="body" sz="quarter" idx="27"/>
          </p:nvPr>
        </p:nvSpPr>
        <p:spPr>
          <a:xfrm>
            <a:off x="906170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848088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170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CA211D0-BA75-05F2-CA3C-5D70325CE1D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8" name="Picture 9" descr="Frame">
            <a:extLst>
              <a:ext uri="{FF2B5EF4-FFF2-40B4-BE49-F238E27FC236}">
                <a16:creationId xmlns:a16="http://schemas.microsoft.com/office/drawing/2014/main" id="{FAA2F762-32B4-E930-82AD-9A09B4BF40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CA20FE8-870E-F687-4B89-1FA709E3B60A}"/>
              </a:ext>
            </a:extLst>
          </p:cNvPr>
          <p:cNvCxnSpPr>
            <a:cxnSpLocks/>
          </p:cNvCxnSpPr>
          <p:nvPr userDrawn="1"/>
        </p:nvCxnSpPr>
        <p:spPr>
          <a:xfrm>
            <a:off x="1616856" y="3484692"/>
            <a:ext cx="1539256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99D94D-B4AB-CE52-DF0A-98553F073FED}"/>
              </a:ext>
            </a:extLst>
          </p:cNvPr>
          <p:cNvCxnSpPr>
            <a:cxnSpLocks/>
          </p:cNvCxnSpPr>
          <p:nvPr userDrawn="1"/>
        </p:nvCxnSpPr>
        <p:spPr>
          <a:xfrm>
            <a:off x="4349412" y="3484692"/>
            <a:ext cx="1539256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377B6E-CFB4-1067-69EE-F7D199974DC0}"/>
              </a:ext>
            </a:extLst>
          </p:cNvPr>
          <p:cNvCxnSpPr>
            <a:cxnSpLocks/>
          </p:cNvCxnSpPr>
          <p:nvPr userDrawn="1"/>
        </p:nvCxnSpPr>
        <p:spPr>
          <a:xfrm>
            <a:off x="7101214" y="3484692"/>
            <a:ext cx="1539256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73A9838-6F7D-1998-8D27-D8EBB6F6ADA2}"/>
              </a:ext>
            </a:extLst>
          </p:cNvPr>
          <p:cNvCxnSpPr>
            <a:cxnSpLocks/>
          </p:cNvCxnSpPr>
          <p:nvPr userDrawn="1"/>
        </p:nvCxnSpPr>
        <p:spPr>
          <a:xfrm>
            <a:off x="9820904" y="3484692"/>
            <a:ext cx="1539256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D7169889-9548-46BC-FECB-4B928A3AD1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618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76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858544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3593592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6496" y="4523164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6327296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2981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063128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69F22E0-2357-ACF6-E781-44FE16D5A68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01A02588-22B2-AC0A-C84A-7BCEE417C5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DFB7645-3FF1-F12F-CE87-341B8679F8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1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76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xed content r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5356225" y="1484313"/>
            <a:ext cx="6835775" cy="385921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6"/>
          </p:nvPr>
        </p:nvSpPr>
        <p:spPr>
          <a:xfrm>
            <a:off x="853440" y="2745308"/>
            <a:ext cx="3676650" cy="13673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6309083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630390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978B024-38DD-893D-A6BB-E0E8FB7E646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C1F4769D-38DD-46B8-0993-A52290C255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sp>
        <p:nvSpPr>
          <p:cNvPr id="2" name="Rectangles 5">
            <a:extLst>
              <a:ext uri="{FF2B5EF4-FFF2-40B4-BE49-F238E27FC236}">
                <a16:creationId xmlns:a16="http://schemas.microsoft.com/office/drawing/2014/main" id="{9AAC61E0-E489-E8EE-AC86-5343FAAC9169}"/>
              </a:ext>
            </a:extLst>
          </p:cNvPr>
          <p:cNvSpPr/>
          <p:nvPr userDrawn="1"/>
        </p:nvSpPr>
        <p:spPr>
          <a:xfrm>
            <a:off x="7131685" y="-13970"/>
            <a:ext cx="5073650" cy="68719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90FB40AB-64E4-E3AB-B4BE-B39928298E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81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768" userDrawn="1">
          <p15:clr>
            <a:srgbClr val="FBAE40"/>
          </p15:clr>
        </p15:guide>
        <p15:guide id="3" pos="52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4944" y="1956816"/>
            <a:ext cx="10640085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ECE28-30E7-2ABD-7C2B-84D807B84F6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4196677C-43BC-EF2A-E548-FA962D69B59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47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2" userDrawn="1">
          <p15:clr>
            <a:srgbClr val="FBAE40"/>
          </p15:clr>
        </p15:guide>
        <p15:guide id="2" orient="horz" pos="528" userDrawn="1">
          <p15:clr>
            <a:srgbClr val="FBAE40"/>
          </p15:clr>
        </p15:guide>
        <p15:guide id="3" orient="horz" pos="1224" userDrawn="1">
          <p15:clr>
            <a:srgbClr val="FBAE40"/>
          </p15:clr>
        </p15:guide>
        <p15:guide id="4" orient="horz" pos="3624" userDrawn="1">
          <p15:clr>
            <a:srgbClr val="FBAE40"/>
          </p15:clr>
        </p15:guide>
        <p15:guide id="5" pos="432" userDrawn="1">
          <p15:clr>
            <a:srgbClr val="FBAE40"/>
          </p15:clr>
        </p15:guide>
        <p15:guide id="6" orient="horz" pos="768" userDrawn="1">
          <p15:clr>
            <a:srgbClr val="FBAE40"/>
          </p15:clr>
        </p15:guide>
        <p15:guide id="7" orient="horz" pos="100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/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A68A2412-AC7E-FE30-B216-6A77301B9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7943F83-72D4-7011-F269-7591A6DBB0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0D284FF3-05FC-9926-841C-70C64E9D9F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83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BC4D5C10-F6B5-09FB-45C1-4565D751F0C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2E9652F4-30DF-0CF1-5AEC-F1E44CB6587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213" y="6462713"/>
            <a:ext cx="923925" cy="161925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6687"/>
            <a:ext cx="8629651" cy="362105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54AB228-E226-7CC8-EE3D-9B4C624B44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A36AA86-5364-40DC-AE33-EA96804A7D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164E024E-7A10-05CA-E12D-9B5688FAEC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100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3AF67DB3-ED44-B65B-B3F1-88EC24FF9B0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5608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C3FED0F-F31C-62D2-6876-997A96C415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8E33E05D-6C83-E0F8-6F80-5AB1A99B54C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B4618DA-6666-D404-8450-8E8F5EA9B9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pic>
        <p:nvPicPr>
          <p:cNvPr id="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66E6F271-9786-D37A-8F7E-49D05EC192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39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D196510-F708-231F-6E20-CBFC1EF96933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81695" y="39688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7"/>
          <p:cNvSpPr>
            <a:spLocks noGrp="1"/>
          </p:cNvSpPr>
          <p:nvPr>
            <p:ph type="body" sz="quarter" idx="16"/>
          </p:nvPr>
        </p:nvSpPr>
        <p:spPr>
          <a:xfrm>
            <a:off x="7561772" y="52395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7"/>
          <p:cNvSpPr>
            <a:spLocks noGrp="1"/>
          </p:cNvSpPr>
          <p:nvPr>
            <p:ph type="body" sz="quarter" idx="17"/>
          </p:nvPr>
        </p:nvSpPr>
        <p:spPr>
          <a:xfrm>
            <a:off x="7561772" y="31821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7"/>
          <p:cNvSpPr>
            <a:spLocks noGrp="1"/>
          </p:cNvSpPr>
          <p:nvPr>
            <p:ph type="body" sz="quarter" idx="18"/>
          </p:nvPr>
        </p:nvSpPr>
        <p:spPr>
          <a:xfrm>
            <a:off x="7561772" y="1123761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7"/>
          <p:cNvSpPr>
            <a:spLocks noGrp="1"/>
          </p:cNvSpPr>
          <p:nvPr>
            <p:ph type="body" sz="quarter" idx="19"/>
          </p:nvPr>
        </p:nvSpPr>
        <p:spPr>
          <a:xfrm>
            <a:off x="7561772" y="4873752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7"/>
          <p:cNvSpPr>
            <a:spLocks noGrp="1"/>
          </p:cNvSpPr>
          <p:nvPr>
            <p:ph type="body" sz="quarter" idx="20"/>
          </p:nvPr>
        </p:nvSpPr>
        <p:spPr>
          <a:xfrm>
            <a:off x="7561772" y="2806875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7"/>
          <p:cNvSpPr>
            <a:spLocks noGrp="1"/>
          </p:cNvSpPr>
          <p:nvPr>
            <p:ph type="body" sz="quarter" idx="21"/>
          </p:nvPr>
        </p:nvSpPr>
        <p:spPr>
          <a:xfrm>
            <a:off x="7561772" y="761167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87804" y="2982336"/>
            <a:ext cx="3710353" cy="43258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72063" y="761166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5072063" y="2812265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5072063" y="4873752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39DA796-64E7-FB91-E01E-8ECCDB0AAA6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2D3AF80E-9038-7BE1-895C-21F1F30CE5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DA0D637-2D6A-BE45-82DC-2A5B12752C99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E199BA58-2A9B-1C94-0E3B-89A8EC0EDB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38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85854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3593592" y="4028661"/>
            <a:ext cx="2289948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359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632855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31070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063128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422DCFF-EE03-D676-F370-4F9A7FBA7EF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2D470934-D3D3-451D-F496-B71554E2EFD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6FC4596-F02A-F4A1-7BCE-04B95FC922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695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7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FBAA4860-64C3-4767-3FF3-1D1FDA556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4">
            <a:extLst>
              <a:ext uri="{FF2B5EF4-FFF2-40B4-BE49-F238E27FC236}">
                <a16:creationId xmlns:a16="http://schemas.microsoft.com/office/drawing/2014/main" id="{5AA60034-B90F-9901-C822-D1E011A33F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763" y="2884488"/>
            <a:ext cx="4949825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en-US" altLang="en-US" sz="7200" b="1" dirty="0">
                <a:solidFill>
                  <a:schemeClr val="bg1"/>
                </a:solidFill>
                <a:latin typeface="Arial Bold"/>
                <a:ea typeface="Arial Bold"/>
                <a:cs typeface="Arial Bold"/>
              </a:rPr>
              <a:t>Thank you</a:t>
            </a:r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D29F5624-1815-D12F-19F5-C2DAA0E6D9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0B17617-4B34-1B96-F8D0-DA83838B3A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8732CC94-7277-FF05-2886-495934BE3B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0625DD-188D-EF97-C481-05ABEFE2CCF6}"/>
              </a:ext>
            </a:extLst>
          </p:cNvPr>
          <p:cNvSpPr txBox="1"/>
          <p:nvPr userDrawn="1"/>
        </p:nvSpPr>
        <p:spPr>
          <a:xfrm>
            <a:off x="649167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8" name="Picture 9" descr="Frame">
            <a:extLst>
              <a:ext uri="{FF2B5EF4-FFF2-40B4-BE49-F238E27FC236}">
                <a16:creationId xmlns:a16="http://schemas.microsoft.com/office/drawing/2014/main" id="{BCA3EE92-4AA1-4497-1769-7CC2467563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507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7CAED91-B193-2A85-82CD-99E0B9289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A3D0162E-F689-5952-F77C-9D3A6B82980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5233DA7F-AC8E-3E96-3AB0-81198280A4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0598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sight En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893082E2-4423-EF0E-810B-F88914FAD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6400" y="3100388"/>
            <a:ext cx="3759200" cy="65722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862EF63-64B6-8070-88CE-220F885F2B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84D85D95-66E0-B77F-A9E0-C57D934E6C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2861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sight End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BF5E5E97-4FE9-4AED-1CDD-2D394E21A8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4EAED051-ADCE-50CD-00DD-7A0CCACCB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100388"/>
            <a:ext cx="3757613" cy="65722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4205B80-E1AE-FB36-D467-C3A8EDCD57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CAC6FBB5-9480-FF22-7185-B3EF5870C9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CB9EA042-F8CA-31DD-B0EC-7EF0E2CF725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428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968752" y="1675588"/>
            <a:ext cx="4379970" cy="403892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685799" y="548640"/>
            <a:ext cx="5184648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193792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180764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A5F3DEC-90E8-A722-B4E2-CCD9FCC3B1CE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09B73F49-2AC8-9EA6-BAFF-1725DD15485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sp>
        <p:nvSpPr>
          <p:cNvPr id="2" name="Rectangles 5">
            <a:extLst>
              <a:ext uri="{FF2B5EF4-FFF2-40B4-BE49-F238E27FC236}">
                <a16:creationId xmlns:a16="http://schemas.microsoft.com/office/drawing/2014/main" id="{3577EBC5-6464-40C2-5682-D6294BF17B3A}"/>
              </a:ext>
            </a:extLst>
          </p:cNvPr>
          <p:cNvSpPr/>
          <p:nvPr userDrawn="1"/>
        </p:nvSpPr>
        <p:spPr>
          <a:xfrm>
            <a:off x="6096000" y="-13970"/>
            <a:ext cx="6109335" cy="68719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F9AF207-ADE3-7A86-F2E7-694397CA6A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74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1056" userDrawn="1">
          <p15:clr>
            <a:srgbClr val="FBAE40"/>
          </p15:clr>
        </p15:guide>
        <p15:guide id="3" orient="horz" pos="7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6096000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A228C385-C0C9-BD03-2619-B796253A3CF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9D789DE9-FEA9-F057-4E22-462637AF8E6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7C3CBF1-9F50-D0C1-BD4E-CB5821E3DB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256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1224" userDrawn="1">
          <p15:clr>
            <a:srgbClr val="FBAE40"/>
          </p15:clr>
        </p15:guide>
        <p15:guide id="3" orient="horz" pos="3360" userDrawn="1">
          <p15:clr>
            <a:srgbClr val="FBAE40"/>
          </p15:clr>
        </p15:guide>
        <p15:guide id="4" userDrawn="1">
          <p15:clr>
            <a:srgbClr val="FBAE40"/>
          </p15:clr>
        </p15:guide>
        <p15:guide id="5" orient="horz" pos="768" userDrawn="1">
          <p15:clr>
            <a:srgbClr val="FBAE40"/>
          </p15:clr>
        </p15:guide>
        <p15:guide id="6" pos="33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py +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430887"/>
          </a:xfrm>
          <a:prstGeom prst="rect">
            <a:avLst/>
          </a:prstGeom>
        </p:spPr>
        <p:txBody>
          <a:bodyPr rtlCol="0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0292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8F76D0F-CAA8-0C58-D5A0-998A7920C061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31792A82-F91F-6F5A-64BB-85F90EBE36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319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105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1A95AB-958D-B97D-869D-F684DAC101C5}"/>
              </a:ext>
            </a:extLst>
          </p:cNvPr>
          <p:cNvCxnSpPr>
            <a:cxnSpLocks/>
          </p:cNvCxnSpPr>
          <p:nvPr/>
        </p:nvCxnSpPr>
        <p:spPr>
          <a:xfrm>
            <a:off x="0" y="3154363"/>
            <a:ext cx="4173538" cy="0"/>
          </a:xfrm>
          <a:prstGeom prst="line">
            <a:avLst/>
          </a:prstGeom>
          <a:ln w="101600">
            <a:solidFill>
              <a:srgbClr val="E900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81695" y="40503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87804" y="1999401"/>
            <a:ext cx="3710353" cy="9712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ext Placeholder 37"/>
          <p:cNvSpPr>
            <a:spLocks noGrp="1"/>
          </p:cNvSpPr>
          <p:nvPr>
            <p:ph type="body" sz="quarter" idx="25"/>
          </p:nvPr>
        </p:nvSpPr>
        <p:spPr>
          <a:xfrm>
            <a:off x="681695" y="3681039"/>
            <a:ext cx="3710353" cy="2704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BBE1FFB-9D76-62FA-0485-88394B3F094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7A5B4093-DC4B-F113-710E-425642B3EF5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685161C-11E3-2FC6-DC2A-0360FFA66A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2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  <p15:guide id="2" orient="horz" pos="1512" userDrawn="1">
          <p15:clr>
            <a:srgbClr val="FBAE40"/>
          </p15:clr>
        </p15:guide>
        <p15:guide id="3" orient="horz" pos="2448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0" y="-542"/>
            <a:ext cx="12192000" cy="6858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E0F3BD-F46E-14EA-D8F1-2BBF3CC615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A7E2AE7-D072-156A-D93A-AD144AB7D5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73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Corp Preso RS content, ls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7">
            <a:extLst>
              <a:ext uri="{FF2B5EF4-FFF2-40B4-BE49-F238E27FC236}">
                <a16:creationId xmlns:a16="http://schemas.microsoft.com/office/drawing/2014/main" id="{F339DFA3-546C-AF44-B0A5-033B53F454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038600"/>
            <a:ext cx="4572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47D5C518-FEA8-E448-83F0-4001C6F43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2057400"/>
            <a:ext cx="45720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4EB9A0-9C8B-EA7D-3352-39B6A49A6770}"/>
              </a:ext>
            </a:extLst>
          </p:cNvPr>
          <p:cNvSpPr/>
          <p:nvPr/>
        </p:nvSpPr>
        <p:spPr>
          <a:xfrm>
            <a:off x="0" y="1509559"/>
            <a:ext cx="3272589" cy="88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571C6C55-05B0-7E70-8621-C24F4B03D10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54916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2">
          <p15:clr>
            <a:srgbClr val="FBAE40"/>
          </p15:clr>
        </p15:guide>
        <p15:guide id="5" pos="715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ondary Divider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2D2AE97-1F6D-21CC-E229-0AF2B8AE74EE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152899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67B93B0C-8FD7-0073-460C-AD0E24E29E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1A6802-15DE-6D1A-2A59-BC67D30DE573}"/>
              </a:ext>
            </a:extLst>
          </p:cNvPr>
          <p:cNvGrpSpPr/>
          <p:nvPr/>
        </p:nvGrpSpPr>
        <p:grpSpPr>
          <a:xfrm>
            <a:off x="688804" y="6461277"/>
            <a:ext cx="927246" cy="163689"/>
            <a:chOff x="688803" y="6461276"/>
            <a:chExt cx="927246" cy="163689"/>
          </a:xfrm>
        </p:grpSpPr>
        <p:sp>
          <p:nvSpPr>
            <p:cNvPr id="7" name="Freeform: Shape 3">
              <a:extLst>
                <a:ext uri="{FF2B5EF4-FFF2-40B4-BE49-F238E27FC236}">
                  <a16:creationId xmlns:a16="http://schemas.microsoft.com/office/drawing/2014/main" id="{30371DF4-D389-C24B-19E9-5D35F776E2DC}"/>
                </a:ext>
              </a:extLst>
            </p:cNvPr>
            <p:cNvSpPr/>
            <p:nvPr/>
          </p:nvSpPr>
          <p:spPr>
            <a:xfrm>
              <a:off x="688803" y="6461276"/>
              <a:ext cx="213886" cy="163689"/>
            </a:xfrm>
            <a:custGeom>
              <a:avLst/>
              <a:gdLst>
                <a:gd name="connsiteX0" fmla="*/ 213886 w 213886"/>
                <a:gd name="connsiteY0" fmla="*/ 84614 h 163689"/>
                <a:gd name="connsiteX1" fmla="*/ 206159 w 213886"/>
                <a:gd name="connsiteY1" fmla="*/ 72922 h 163689"/>
                <a:gd name="connsiteX2" fmla="*/ 193178 w 213886"/>
                <a:gd name="connsiteY2" fmla="*/ 44307 h 163689"/>
                <a:gd name="connsiteX3" fmla="*/ 178960 w 213886"/>
                <a:gd name="connsiteY3" fmla="*/ 72922 h 163689"/>
                <a:gd name="connsiteX4" fmla="*/ 169996 w 213886"/>
                <a:gd name="connsiteY4" fmla="*/ 84614 h 163689"/>
                <a:gd name="connsiteX5" fmla="*/ 156397 w 213886"/>
                <a:gd name="connsiteY5" fmla="*/ 58768 h 163689"/>
                <a:gd name="connsiteX6" fmla="*/ 130743 w 213886"/>
                <a:gd name="connsiteY6" fmla="*/ 0 h 163689"/>
                <a:gd name="connsiteX7" fmla="*/ 106325 w 213886"/>
                <a:gd name="connsiteY7" fmla="*/ 58768 h 163689"/>
                <a:gd name="connsiteX8" fmla="*/ 88398 w 213886"/>
                <a:gd name="connsiteY8" fmla="*/ 84306 h 163689"/>
                <a:gd name="connsiteX9" fmla="*/ 72944 w 213886"/>
                <a:gd name="connsiteY9" fmla="*/ 64307 h 163689"/>
                <a:gd name="connsiteX10" fmla="*/ 53472 w 213886"/>
                <a:gd name="connsiteY10" fmla="*/ 25538 h 163689"/>
                <a:gd name="connsiteX11" fmla="*/ 33690 w 213886"/>
                <a:gd name="connsiteY11" fmla="*/ 65538 h 163689"/>
                <a:gd name="connsiteX12" fmla="*/ 17927 w 213886"/>
                <a:gd name="connsiteY12" fmla="*/ 84614 h 163689"/>
                <a:gd name="connsiteX13" fmla="*/ 0 w 213886"/>
                <a:gd name="connsiteY13" fmla="*/ 84614 h 163689"/>
                <a:gd name="connsiteX14" fmla="*/ 8345 w 213886"/>
                <a:gd name="connsiteY14" fmla="*/ 96614 h 163689"/>
                <a:gd name="connsiteX15" fmla="*/ 19472 w 213886"/>
                <a:gd name="connsiteY15" fmla="*/ 125229 h 163689"/>
                <a:gd name="connsiteX16" fmla="*/ 31527 w 213886"/>
                <a:gd name="connsiteY16" fmla="*/ 101229 h 163689"/>
                <a:gd name="connsiteX17" fmla="*/ 43890 w 213886"/>
                <a:gd name="connsiteY17" fmla="*/ 84922 h 163689"/>
                <a:gd name="connsiteX18" fmla="*/ 59344 w 213886"/>
                <a:gd name="connsiteY18" fmla="*/ 111691 h 163689"/>
                <a:gd name="connsiteX19" fmla="*/ 82835 w 213886"/>
                <a:gd name="connsiteY19" fmla="*/ 163690 h 163689"/>
                <a:gd name="connsiteX20" fmla="*/ 107252 w 213886"/>
                <a:gd name="connsiteY20" fmla="*/ 111691 h 163689"/>
                <a:gd name="connsiteX21" fmla="*/ 126725 w 213886"/>
                <a:gd name="connsiteY21" fmla="*/ 84922 h 163689"/>
                <a:gd name="connsiteX22" fmla="*/ 144342 w 213886"/>
                <a:gd name="connsiteY22" fmla="*/ 105229 h 163689"/>
                <a:gd name="connsiteX23" fmla="*/ 161342 w 213886"/>
                <a:gd name="connsiteY23" fmla="*/ 131998 h 163689"/>
                <a:gd name="connsiteX24" fmla="*/ 179269 w 213886"/>
                <a:gd name="connsiteY24" fmla="*/ 102152 h 163689"/>
                <a:gd name="connsiteX25" fmla="*/ 195959 w 213886"/>
                <a:gd name="connsiteY25" fmla="*/ 85230 h 163689"/>
                <a:gd name="connsiteX26" fmla="*/ 213886 w 213886"/>
                <a:gd name="connsiteY26" fmla="*/ 84614 h 163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3886" h="163689">
                  <a:moveTo>
                    <a:pt x="213886" y="84614"/>
                  </a:moveTo>
                  <a:cubicBezTo>
                    <a:pt x="212032" y="84306"/>
                    <a:pt x="208632" y="82460"/>
                    <a:pt x="206159" y="72922"/>
                  </a:cubicBezTo>
                  <a:cubicBezTo>
                    <a:pt x="202141" y="57538"/>
                    <a:pt x="200287" y="44307"/>
                    <a:pt x="193178" y="44307"/>
                  </a:cubicBezTo>
                  <a:cubicBezTo>
                    <a:pt x="186378" y="44307"/>
                    <a:pt x="182978" y="57538"/>
                    <a:pt x="178960" y="72922"/>
                  </a:cubicBezTo>
                  <a:cubicBezTo>
                    <a:pt x="176487" y="81845"/>
                    <a:pt x="174015" y="84614"/>
                    <a:pt x="169996" y="84614"/>
                  </a:cubicBezTo>
                  <a:cubicBezTo>
                    <a:pt x="166287" y="84614"/>
                    <a:pt x="162269" y="82768"/>
                    <a:pt x="156397" y="58768"/>
                  </a:cubicBezTo>
                  <a:cubicBezTo>
                    <a:pt x="151142" y="37846"/>
                    <a:pt x="147742" y="0"/>
                    <a:pt x="130743" y="0"/>
                  </a:cubicBezTo>
                  <a:cubicBezTo>
                    <a:pt x="113743" y="0"/>
                    <a:pt x="108489" y="49230"/>
                    <a:pt x="106325" y="58768"/>
                  </a:cubicBezTo>
                  <a:cubicBezTo>
                    <a:pt x="103543" y="70460"/>
                    <a:pt x="97053" y="84306"/>
                    <a:pt x="88398" y="84306"/>
                  </a:cubicBezTo>
                  <a:cubicBezTo>
                    <a:pt x="80053" y="84306"/>
                    <a:pt x="75416" y="74460"/>
                    <a:pt x="72944" y="64307"/>
                  </a:cubicBezTo>
                  <a:cubicBezTo>
                    <a:pt x="69235" y="48615"/>
                    <a:pt x="64908" y="25538"/>
                    <a:pt x="53472" y="25538"/>
                  </a:cubicBezTo>
                  <a:cubicBezTo>
                    <a:pt x="42345" y="25538"/>
                    <a:pt x="38636" y="44615"/>
                    <a:pt x="33690" y="65538"/>
                  </a:cubicBezTo>
                  <a:cubicBezTo>
                    <a:pt x="30908" y="77845"/>
                    <a:pt x="25963" y="84614"/>
                    <a:pt x="17927" y="84614"/>
                  </a:cubicBezTo>
                  <a:lnTo>
                    <a:pt x="0" y="84614"/>
                  </a:lnTo>
                  <a:cubicBezTo>
                    <a:pt x="2473" y="85230"/>
                    <a:pt x="7109" y="89229"/>
                    <a:pt x="8345" y="96614"/>
                  </a:cubicBezTo>
                  <a:cubicBezTo>
                    <a:pt x="11127" y="114152"/>
                    <a:pt x="13291" y="125229"/>
                    <a:pt x="19472" y="125229"/>
                  </a:cubicBezTo>
                  <a:cubicBezTo>
                    <a:pt x="25654" y="125229"/>
                    <a:pt x="27818" y="115691"/>
                    <a:pt x="31527" y="101229"/>
                  </a:cubicBezTo>
                  <a:cubicBezTo>
                    <a:pt x="34308" y="89845"/>
                    <a:pt x="38636" y="84922"/>
                    <a:pt x="43890" y="84922"/>
                  </a:cubicBezTo>
                  <a:cubicBezTo>
                    <a:pt x="51617" y="84922"/>
                    <a:pt x="55017" y="94152"/>
                    <a:pt x="59344" y="111691"/>
                  </a:cubicBezTo>
                  <a:cubicBezTo>
                    <a:pt x="67689" y="146767"/>
                    <a:pt x="69544" y="163690"/>
                    <a:pt x="82835" y="163690"/>
                  </a:cubicBezTo>
                  <a:cubicBezTo>
                    <a:pt x="96125" y="163690"/>
                    <a:pt x="98289" y="146767"/>
                    <a:pt x="107252" y="111691"/>
                  </a:cubicBezTo>
                  <a:cubicBezTo>
                    <a:pt x="111270" y="96306"/>
                    <a:pt x="118379" y="84922"/>
                    <a:pt x="126725" y="84922"/>
                  </a:cubicBezTo>
                  <a:cubicBezTo>
                    <a:pt x="135070" y="84922"/>
                    <a:pt x="141251" y="96306"/>
                    <a:pt x="144342" y="105229"/>
                  </a:cubicBezTo>
                  <a:cubicBezTo>
                    <a:pt x="151142" y="124613"/>
                    <a:pt x="154233" y="131998"/>
                    <a:pt x="161342" y="131998"/>
                  </a:cubicBezTo>
                  <a:cubicBezTo>
                    <a:pt x="168760" y="131998"/>
                    <a:pt x="172778" y="123075"/>
                    <a:pt x="179269" y="102152"/>
                  </a:cubicBezTo>
                  <a:cubicBezTo>
                    <a:pt x="183287" y="88922"/>
                    <a:pt x="183905" y="85230"/>
                    <a:pt x="195959" y="85230"/>
                  </a:cubicBezTo>
                  <a:lnTo>
                    <a:pt x="213886" y="84614"/>
                  </a:lnTo>
                  <a:close/>
                </a:path>
              </a:pathLst>
            </a:custGeom>
            <a:solidFill>
              <a:srgbClr val="E90029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8" name="Freeform: Shape 4">
              <a:extLst>
                <a:ext uri="{FF2B5EF4-FFF2-40B4-BE49-F238E27FC236}">
                  <a16:creationId xmlns:a16="http://schemas.microsoft.com/office/drawing/2014/main" id="{8D335413-B2A9-32C0-E0E7-FE2D8D56A78D}"/>
                </a:ext>
              </a:extLst>
            </p:cNvPr>
            <p:cNvSpPr/>
            <p:nvPr/>
          </p:nvSpPr>
          <p:spPr>
            <a:xfrm>
              <a:off x="941021" y="6485584"/>
              <a:ext cx="86853" cy="106152"/>
            </a:xfrm>
            <a:custGeom>
              <a:avLst/>
              <a:gdLst>
                <a:gd name="connsiteX0" fmla="*/ 63053 w 86853"/>
                <a:gd name="connsiteY0" fmla="*/ 106152 h 106152"/>
                <a:gd name="connsiteX1" fmla="*/ 17926 w 86853"/>
                <a:gd name="connsiteY1" fmla="*/ 54153 h 106152"/>
                <a:gd name="connsiteX2" fmla="*/ 17926 w 86853"/>
                <a:gd name="connsiteY2" fmla="*/ 106152 h 106152"/>
                <a:gd name="connsiteX3" fmla="*/ 0 w 86853"/>
                <a:gd name="connsiteY3" fmla="*/ 106152 h 106152"/>
                <a:gd name="connsiteX4" fmla="*/ 0 w 86853"/>
                <a:gd name="connsiteY4" fmla="*/ 0 h 106152"/>
                <a:gd name="connsiteX5" fmla="*/ 17926 w 86853"/>
                <a:gd name="connsiteY5" fmla="*/ 0 h 106152"/>
                <a:gd name="connsiteX6" fmla="*/ 17926 w 86853"/>
                <a:gd name="connsiteY6" fmla="*/ 46461 h 106152"/>
                <a:gd name="connsiteX7" fmla="*/ 59963 w 86853"/>
                <a:gd name="connsiteY7" fmla="*/ 0 h 106152"/>
                <a:gd name="connsiteX8" fmla="*/ 82833 w 86853"/>
                <a:gd name="connsiteY8" fmla="*/ 0 h 106152"/>
                <a:gd name="connsiteX9" fmla="*/ 36471 w 86853"/>
                <a:gd name="connsiteY9" fmla="*/ 50153 h 106152"/>
                <a:gd name="connsiteX10" fmla="*/ 86853 w 86853"/>
                <a:gd name="connsiteY10" fmla="*/ 106152 h 106152"/>
                <a:gd name="connsiteX11" fmla="*/ 63053 w 86853"/>
                <a:gd name="connsiteY11" fmla="*/ 106152 h 10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853" h="106152">
                  <a:moveTo>
                    <a:pt x="63053" y="106152"/>
                  </a:moveTo>
                  <a:lnTo>
                    <a:pt x="17926" y="54153"/>
                  </a:lnTo>
                  <a:lnTo>
                    <a:pt x="17926" y="106152"/>
                  </a:lnTo>
                  <a:lnTo>
                    <a:pt x="0" y="106152"/>
                  </a:lnTo>
                  <a:lnTo>
                    <a:pt x="0" y="0"/>
                  </a:lnTo>
                  <a:lnTo>
                    <a:pt x="17926" y="0"/>
                  </a:lnTo>
                  <a:lnTo>
                    <a:pt x="17926" y="46461"/>
                  </a:lnTo>
                  <a:lnTo>
                    <a:pt x="59963" y="0"/>
                  </a:lnTo>
                  <a:lnTo>
                    <a:pt x="82833" y="0"/>
                  </a:lnTo>
                  <a:lnTo>
                    <a:pt x="36471" y="50153"/>
                  </a:lnTo>
                  <a:lnTo>
                    <a:pt x="86853" y="106152"/>
                  </a:lnTo>
                  <a:lnTo>
                    <a:pt x="63053" y="106152"/>
                  </a:ln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0" name="Freeform: Shape 5">
              <a:extLst>
                <a:ext uri="{FF2B5EF4-FFF2-40B4-BE49-F238E27FC236}">
                  <a16:creationId xmlns:a16="http://schemas.microsoft.com/office/drawing/2014/main" id="{5D9BF469-E68E-9A0E-123E-7AE17C8C4BAA}"/>
                </a:ext>
              </a:extLst>
            </p:cNvPr>
            <p:cNvSpPr/>
            <p:nvPr/>
          </p:nvSpPr>
          <p:spPr>
            <a:xfrm>
              <a:off x="1037458" y="6485584"/>
              <a:ext cx="63053" cy="106152"/>
            </a:xfrm>
            <a:custGeom>
              <a:avLst/>
              <a:gdLst>
                <a:gd name="connsiteX0" fmla="*/ 63053 w 63053"/>
                <a:gd name="connsiteY0" fmla="*/ 0 h 106152"/>
                <a:gd name="connsiteX1" fmla="*/ 63053 w 63053"/>
                <a:gd name="connsiteY1" fmla="*/ 16923 h 106152"/>
                <a:gd name="connsiteX2" fmla="*/ 17929 w 63053"/>
                <a:gd name="connsiteY2" fmla="*/ 16923 h 106152"/>
                <a:gd name="connsiteX3" fmla="*/ 17929 w 63053"/>
                <a:gd name="connsiteY3" fmla="*/ 42153 h 106152"/>
                <a:gd name="connsiteX4" fmla="*/ 58109 w 63053"/>
                <a:gd name="connsiteY4" fmla="*/ 42153 h 106152"/>
                <a:gd name="connsiteX5" fmla="*/ 58109 w 63053"/>
                <a:gd name="connsiteY5" fmla="*/ 59076 h 106152"/>
                <a:gd name="connsiteX6" fmla="*/ 17929 w 63053"/>
                <a:gd name="connsiteY6" fmla="*/ 59076 h 106152"/>
                <a:gd name="connsiteX7" fmla="*/ 17929 w 63053"/>
                <a:gd name="connsiteY7" fmla="*/ 89229 h 106152"/>
                <a:gd name="connsiteX8" fmla="*/ 63053 w 63053"/>
                <a:gd name="connsiteY8" fmla="*/ 89229 h 106152"/>
                <a:gd name="connsiteX9" fmla="*/ 63053 w 63053"/>
                <a:gd name="connsiteY9" fmla="*/ 106152 h 106152"/>
                <a:gd name="connsiteX10" fmla="*/ 0 w 63053"/>
                <a:gd name="connsiteY10" fmla="*/ 106152 h 106152"/>
                <a:gd name="connsiteX11" fmla="*/ 0 w 63053"/>
                <a:gd name="connsiteY11" fmla="*/ 0 h 106152"/>
                <a:gd name="connsiteX12" fmla="*/ 63053 w 63053"/>
                <a:gd name="connsiteY12" fmla="*/ 0 h 10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053" h="106152">
                  <a:moveTo>
                    <a:pt x="63053" y="0"/>
                  </a:moveTo>
                  <a:lnTo>
                    <a:pt x="63053" y="16923"/>
                  </a:lnTo>
                  <a:lnTo>
                    <a:pt x="17929" y="16923"/>
                  </a:lnTo>
                  <a:lnTo>
                    <a:pt x="17929" y="42153"/>
                  </a:lnTo>
                  <a:lnTo>
                    <a:pt x="58109" y="42153"/>
                  </a:lnTo>
                  <a:lnTo>
                    <a:pt x="58109" y="59076"/>
                  </a:lnTo>
                  <a:lnTo>
                    <a:pt x="17929" y="59076"/>
                  </a:lnTo>
                  <a:lnTo>
                    <a:pt x="17929" y="89229"/>
                  </a:lnTo>
                  <a:lnTo>
                    <a:pt x="63053" y="89229"/>
                  </a:lnTo>
                  <a:lnTo>
                    <a:pt x="63053" y="106152"/>
                  </a:lnTo>
                  <a:lnTo>
                    <a:pt x="0" y="106152"/>
                  </a:lnTo>
                  <a:lnTo>
                    <a:pt x="0" y="0"/>
                  </a:lnTo>
                  <a:lnTo>
                    <a:pt x="63053" y="0"/>
                  </a:ln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40DC9DC3-40DE-8407-CD1F-EBC95A6C4BCF}"/>
                </a:ext>
              </a:extLst>
            </p:cNvPr>
            <p:cNvSpPr/>
            <p:nvPr/>
          </p:nvSpPr>
          <p:spPr>
            <a:xfrm>
              <a:off x="1108240" y="6485584"/>
              <a:ext cx="96123" cy="106459"/>
            </a:xfrm>
            <a:custGeom>
              <a:avLst/>
              <a:gdLst>
                <a:gd name="connsiteX0" fmla="*/ 21635 w 96123"/>
                <a:gd name="connsiteY0" fmla="*/ 0 h 106459"/>
                <a:gd name="connsiteX1" fmla="*/ 48525 w 96123"/>
                <a:gd name="connsiteY1" fmla="*/ 42153 h 106459"/>
                <a:gd name="connsiteX2" fmla="*/ 75107 w 96123"/>
                <a:gd name="connsiteY2" fmla="*/ 0 h 106459"/>
                <a:gd name="connsiteX3" fmla="*/ 96123 w 96123"/>
                <a:gd name="connsiteY3" fmla="*/ 0 h 106459"/>
                <a:gd name="connsiteX4" fmla="*/ 57490 w 96123"/>
                <a:gd name="connsiteY4" fmla="*/ 60307 h 106459"/>
                <a:gd name="connsiteX5" fmla="*/ 57490 w 96123"/>
                <a:gd name="connsiteY5" fmla="*/ 106460 h 106459"/>
                <a:gd name="connsiteX6" fmla="*/ 39561 w 96123"/>
                <a:gd name="connsiteY6" fmla="*/ 106460 h 106459"/>
                <a:gd name="connsiteX7" fmla="*/ 39561 w 96123"/>
                <a:gd name="connsiteY7" fmla="*/ 60307 h 106459"/>
                <a:gd name="connsiteX8" fmla="*/ 0 w 96123"/>
                <a:gd name="connsiteY8" fmla="*/ 0 h 106459"/>
                <a:gd name="connsiteX9" fmla="*/ 21635 w 96123"/>
                <a:gd name="connsiteY9" fmla="*/ 0 h 10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123" h="106459">
                  <a:moveTo>
                    <a:pt x="21635" y="0"/>
                  </a:moveTo>
                  <a:lnTo>
                    <a:pt x="48525" y="42153"/>
                  </a:lnTo>
                  <a:lnTo>
                    <a:pt x="75107" y="0"/>
                  </a:lnTo>
                  <a:lnTo>
                    <a:pt x="96123" y="0"/>
                  </a:lnTo>
                  <a:lnTo>
                    <a:pt x="57490" y="60307"/>
                  </a:lnTo>
                  <a:lnTo>
                    <a:pt x="57490" y="106460"/>
                  </a:lnTo>
                  <a:lnTo>
                    <a:pt x="39561" y="106460"/>
                  </a:lnTo>
                  <a:lnTo>
                    <a:pt x="39561" y="60307"/>
                  </a:lnTo>
                  <a:lnTo>
                    <a:pt x="0" y="0"/>
                  </a:lnTo>
                  <a:lnTo>
                    <a:pt x="21635" y="0"/>
                  </a:ln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855AE472-5FD8-2A9D-1F1F-37196A8028CB}"/>
                </a:ext>
              </a:extLst>
            </p:cNvPr>
            <p:cNvSpPr/>
            <p:nvPr/>
          </p:nvSpPr>
          <p:spPr>
            <a:xfrm>
              <a:off x="1202203" y="6483736"/>
              <a:ext cx="77889" cy="109233"/>
            </a:xfrm>
            <a:custGeom>
              <a:avLst/>
              <a:gdLst>
                <a:gd name="connsiteX0" fmla="*/ 0 w 77889"/>
                <a:gd name="connsiteY0" fmla="*/ 73845 h 109233"/>
                <a:gd name="connsiteX1" fmla="*/ 17618 w 77889"/>
                <a:gd name="connsiteY1" fmla="*/ 73845 h 109233"/>
                <a:gd name="connsiteX2" fmla="*/ 39561 w 77889"/>
                <a:gd name="connsiteY2" fmla="*/ 92922 h 109233"/>
                <a:gd name="connsiteX3" fmla="*/ 60271 w 77889"/>
                <a:gd name="connsiteY3" fmla="*/ 77845 h 109233"/>
                <a:gd name="connsiteX4" fmla="*/ 1235 w 77889"/>
                <a:gd name="connsiteY4" fmla="*/ 30153 h 109233"/>
                <a:gd name="connsiteX5" fmla="*/ 37398 w 77889"/>
                <a:gd name="connsiteY5" fmla="*/ 0 h 109233"/>
                <a:gd name="connsiteX6" fmla="*/ 74488 w 77889"/>
                <a:gd name="connsiteY6" fmla="*/ 33538 h 109233"/>
                <a:gd name="connsiteX7" fmla="*/ 56252 w 77889"/>
                <a:gd name="connsiteY7" fmla="*/ 33538 h 109233"/>
                <a:gd name="connsiteX8" fmla="*/ 36779 w 77889"/>
                <a:gd name="connsiteY8" fmla="*/ 16923 h 109233"/>
                <a:gd name="connsiteX9" fmla="*/ 18853 w 77889"/>
                <a:gd name="connsiteY9" fmla="*/ 29846 h 109233"/>
                <a:gd name="connsiteX10" fmla="*/ 77889 w 77889"/>
                <a:gd name="connsiteY10" fmla="*/ 77537 h 109233"/>
                <a:gd name="connsiteX11" fmla="*/ 39561 w 77889"/>
                <a:gd name="connsiteY11" fmla="*/ 109229 h 109233"/>
                <a:gd name="connsiteX12" fmla="*/ 0 w 77889"/>
                <a:gd name="connsiteY12" fmla="*/ 73845 h 10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889" h="109233">
                  <a:moveTo>
                    <a:pt x="0" y="73845"/>
                  </a:moveTo>
                  <a:lnTo>
                    <a:pt x="17618" y="73845"/>
                  </a:lnTo>
                  <a:cubicBezTo>
                    <a:pt x="17618" y="85229"/>
                    <a:pt x="26890" y="92922"/>
                    <a:pt x="39561" y="92922"/>
                  </a:cubicBezTo>
                  <a:cubicBezTo>
                    <a:pt x="51615" y="92922"/>
                    <a:pt x="60271" y="86768"/>
                    <a:pt x="60271" y="77845"/>
                  </a:cubicBezTo>
                  <a:cubicBezTo>
                    <a:pt x="60271" y="53845"/>
                    <a:pt x="1235" y="69230"/>
                    <a:pt x="1235" y="30153"/>
                  </a:cubicBezTo>
                  <a:cubicBezTo>
                    <a:pt x="1235" y="12615"/>
                    <a:pt x="16380" y="0"/>
                    <a:pt x="37398" y="0"/>
                  </a:cubicBezTo>
                  <a:cubicBezTo>
                    <a:pt x="62126" y="0"/>
                    <a:pt x="74488" y="15384"/>
                    <a:pt x="74488" y="33538"/>
                  </a:cubicBezTo>
                  <a:lnTo>
                    <a:pt x="56252" y="33538"/>
                  </a:lnTo>
                  <a:cubicBezTo>
                    <a:pt x="55943" y="24000"/>
                    <a:pt x="48525" y="16923"/>
                    <a:pt x="36779" y="16923"/>
                  </a:cubicBezTo>
                  <a:cubicBezTo>
                    <a:pt x="25963" y="16923"/>
                    <a:pt x="18853" y="22153"/>
                    <a:pt x="18853" y="29846"/>
                  </a:cubicBezTo>
                  <a:cubicBezTo>
                    <a:pt x="18853" y="51999"/>
                    <a:pt x="77889" y="36307"/>
                    <a:pt x="77889" y="77537"/>
                  </a:cubicBezTo>
                  <a:cubicBezTo>
                    <a:pt x="77889" y="95998"/>
                    <a:pt x="61507" y="109229"/>
                    <a:pt x="39561" y="109229"/>
                  </a:cubicBezTo>
                  <a:cubicBezTo>
                    <a:pt x="16691" y="109537"/>
                    <a:pt x="0" y="94460"/>
                    <a:pt x="0" y="73845"/>
                  </a:cubicBez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90498D0F-0BE7-3448-2AAB-88CC9D434B88}"/>
                </a:ext>
              </a:extLst>
            </p:cNvPr>
            <p:cNvSpPr/>
            <p:nvPr/>
          </p:nvSpPr>
          <p:spPr>
            <a:xfrm>
              <a:off x="1289676" y="6485584"/>
              <a:ext cx="17926" cy="106459"/>
            </a:xfrm>
            <a:custGeom>
              <a:avLst/>
              <a:gdLst>
                <a:gd name="connsiteX0" fmla="*/ 17926 w 17926"/>
                <a:gd name="connsiteY0" fmla="*/ 0 h 106459"/>
                <a:gd name="connsiteX1" fmla="*/ 17926 w 17926"/>
                <a:gd name="connsiteY1" fmla="*/ 106460 h 106459"/>
                <a:gd name="connsiteX2" fmla="*/ 0 w 17926"/>
                <a:gd name="connsiteY2" fmla="*/ 106460 h 106459"/>
                <a:gd name="connsiteX3" fmla="*/ 0 w 17926"/>
                <a:gd name="connsiteY3" fmla="*/ 0 h 106459"/>
                <a:gd name="connsiteX4" fmla="*/ 17926 w 17926"/>
                <a:gd name="connsiteY4" fmla="*/ 0 h 10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6" h="106459">
                  <a:moveTo>
                    <a:pt x="17926" y="0"/>
                  </a:moveTo>
                  <a:lnTo>
                    <a:pt x="17926" y="106460"/>
                  </a:lnTo>
                  <a:lnTo>
                    <a:pt x="0" y="106460"/>
                  </a:lnTo>
                  <a:lnTo>
                    <a:pt x="0" y="0"/>
                  </a:lnTo>
                  <a:lnTo>
                    <a:pt x="17926" y="0"/>
                  </a:ln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6" name="Freeform: Shape 9">
              <a:extLst>
                <a:ext uri="{FF2B5EF4-FFF2-40B4-BE49-F238E27FC236}">
                  <a16:creationId xmlns:a16="http://schemas.microsoft.com/office/drawing/2014/main" id="{3F3EB7DE-90B6-D26D-9A6C-1BEF3E1644AC}"/>
                </a:ext>
              </a:extLst>
            </p:cNvPr>
            <p:cNvSpPr/>
            <p:nvPr/>
          </p:nvSpPr>
          <p:spPr>
            <a:xfrm>
              <a:off x="1318413" y="6484038"/>
              <a:ext cx="105706" cy="109229"/>
            </a:xfrm>
            <a:custGeom>
              <a:avLst/>
              <a:gdLst>
                <a:gd name="connsiteX0" fmla="*/ 105707 w 105706"/>
                <a:gd name="connsiteY0" fmla="*/ 58153 h 109229"/>
                <a:gd name="connsiteX1" fmla="*/ 53781 w 105706"/>
                <a:gd name="connsiteY1" fmla="*/ 109229 h 109229"/>
                <a:gd name="connsiteX2" fmla="*/ 0 w 105706"/>
                <a:gd name="connsiteY2" fmla="*/ 54461 h 109229"/>
                <a:gd name="connsiteX3" fmla="*/ 53781 w 105706"/>
                <a:gd name="connsiteY3" fmla="*/ 0 h 109229"/>
                <a:gd name="connsiteX4" fmla="*/ 103542 w 105706"/>
                <a:gd name="connsiteY4" fmla="*/ 35076 h 109229"/>
                <a:gd name="connsiteX5" fmla="*/ 83453 w 105706"/>
                <a:gd name="connsiteY5" fmla="*/ 35076 h 109229"/>
                <a:gd name="connsiteX6" fmla="*/ 54089 w 105706"/>
                <a:gd name="connsiteY6" fmla="*/ 17538 h 109229"/>
                <a:gd name="connsiteX7" fmla="*/ 18545 w 105706"/>
                <a:gd name="connsiteY7" fmla="*/ 54768 h 109229"/>
                <a:gd name="connsiteX8" fmla="*/ 55324 w 105706"/>
                <a:gd name="connsiteY8" fmla="*/ 92306 h 109229"/>
                <a:gd name="connsiteX9" fmla="*/ 87778 w 105706"/>
                <a:gd name="connsiteY9" fmla="*/ 65845 h 109229"/>
                <a:gd name="connsiteX10" fmla="*/ 54397 w 105706"/>
                <a:gd name="connsiteY10" fmla="*/ 65845 h 109229"/>
                <a:gd name="connsiteX11" fmla="*/ 54397 w 105706"/>
                <a:gd name="connsiteY11" fmla="*/ 48307 h 109229"/>
                <a:gd name="connsiteX12" fmla="*/ 105396 w 105706"/>
                <a:gd name="connsiteY12" fmla="*/ 48307 h 109229"/>
                <a:gd name="connsiteX13" fmla="*/ 105707 w 105706"/>
                <a:gd name="connsiteY13" fmla="*/ 58153 h 109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706" h="109229">
                  <a:moveTo>
                    <a:pt x="105707" y="58153"/>
                  </a:moveTo>
                  <a:cubicBezTo>
                    <a:pt x="105707" y="87999"/>
                    <a:pt x="83142" y="109229"/>
                    <a:pt x="53781" y="109229"/>
                  </a:cubicBezTo>
                  <a:cubicBezTo>
                    <a:pt x="23181" y="109229"/>
                    <a:pt x="0" y="85537"/>
                    <a:pt x="0" y="54461"/>
                  </a:cubicBezTo>
                  <a:cubicBezTo>
                    <a:pt x="0" y="23384"/>
                    <a:pt x="23490" y="0"/>
                    <a:pt x="53781" y="0"/>
                  </a:cubicBezTo>
                  <a:cubicBezTo>
                    <a:pt x="77889" y="0"/>
                    <a:pt x="99524" y="16307"/>
                    <a:pt x="103542" y="35076"/>
                  </a:cubicBezTo>
                  <a:lnTo>
                    <a:pt x="83453" y="35076"/>
                  </a:lnTo>
                  <a:cubicBezTo>
                    <a:pt x="79433" y="24615"/>
                    <a:pt x="66762" y="17538"/>
                    <a:pt x="54089" y="17538"/>
                  </a:cubicBezTo>
                  <a:cubicBezTo>
                    <a:pt x="33998" y="17538"/>
                    <a:pt x="18545" y="33538"/>
                    <a:pt x="18545" y="54768"/>
                  </a:cubicBezTo>
                  <a:cubicBezTo>
                    <a:pt x="18545" y="75999"/>
                    <a:pt x="33689" y="92306"/>
                    <a:pt x="55324" y="92306"/>
                  </a:cubicBezTo>
                  <a:cubicBezTo>
                    <a:pt x="72015" y="92306"/>
                    <a:pt x="84996" y="81230"/>
                    <a:pt x="87778" y="65845"/>
                  </a:cubicBezTo>
                  <a:lnTo>
                    <a:pt x="54397" y="65845"/>
                  </a:lnTo>
                  <a:lnTo>
                    <a:pt x="54397" y="48307"/>
                  </a:lnTo>
                  <a:lnTo>
                    <a:pt x="105396" y="48307"/>
                  </a:lnTo>
                  <a:cubicBezTo>
                    <a:pt x="105396" y="50768"/>
                    <a:pt x="105707" y="55076"/>
                    <a:pt x="105707" y="58153"/>
                  </a:cubicBez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7" name="Freeform: Shape 10">
              <a:extLst>
                <a:ext uri="{FF2B5EF4-FFF2-40B4-BE49-F238E27FC236}">
                  <a16:creationId xmlns:a16="http://schemas.microsoft.com/office/drawing/2014/main" id="{E5EE76FE-C595-FCA1-D73D-0889C8D24B81}"/>
                </a:ext>
              </a:extLst>
            </p:cNvPr>
            <p:cNvSpPr/>
            <p:nvPr/>
          </p:nvSpPr>
          <p:spPr>
            <a:xfrm>
              <a:off x="1434951" y="6485584"/>
              <a:ext cx="87469" cy="106459"/>
            </a:xfrm>
            <a:custGeom>
              <a:avLst/>
              <a:gdLst>
                <a:gd name="connsiteX0" fmla="*/ 87470 w 87469"/>
                <a:gd name="connsiteY0" fmla="*/ 0 h 106459"/>
                <a:gd name="connsiteX1" fmla="*/ 87470 w 87469"/>
                <a:gd name="connsiteY1" fmla="*/ 106460 h 106459"/>
                <a:gd name="connsiteX2" fmla="*/ 69544 w 87469"/>
                <a:gd name="connsiteY2" fmla="*/ 106460 h 106459"/>
                <a:gd name="connsiteX3" fmla="*/ 69544 w 87469"/>
                <a:gd name="connsiteY3" fmla="*/ 59691 h 106459"/>
                <a:gd name="connsiteX4" fmla="*/ 17926 w 87469"/>
                <a:gd name="connsiteY4" fmla="*/ 59691 h 106459"/>
                <a:gd name="connsiteX5" fmla="*/ 17926 w 87469"/>
                <a:gd name="connsiteY5" fmla="*/ 106460 h 106459"/>
                <a:gd name="connsiteX6" fmla="*/ 0 w 87469"/>
                <a:gd name="connsiteY6" fmla="*/ 106460 h 106459"/>
                <a:gd name="connsiteX7" fmla="*/ 0 w 87469"/>
                <a:gd name="connsiteY7" fmla="*/ 0 h 106459"/>
                <a:gd name="connsiteX8" fmla="*/ 17926 w 87469"/>
                <a:gd name="connsiteY8" fmla="*/ 0 h 106459"/>
                <a:gd name="connsiteX9" fmla="*/ 17926 w 87469"/>
                <a:gd name="connsiteY9" fmla="*/ 42769 h 106459"/>
                <a:gd name="connsiteX10" fmla="*/ 69544 w 87469"/>
                <a:gd name="connsiteY10" fmla="*/ 42769 h 106459"/>
                <a:gd name="connsiteX11" fmla="*/ 69544 w 87469"/>
                <a:gd name="connsiteY11" fmla="*/ 0 h 106459"/>
                <a:gd name="connsiteX12" fmla="*/ 87470 w 87469"/>
                <a:gd name="connsiteY12" fmla="*/ 0 h 10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469" h="106459">
                  <a:moveTo>
                    <a:pt x="87470" y="0"/>
                  </a:moveTo>
                  <a:lnTo>
                    <a:pt x="87470" y="106460"/>
                  </a:lnTo>
                  <a:lnTo>
                    <a:pt x="69544" y="106460"/>
                  </a:lnTo>
                  <a:lnTo>
                    <a:pt x="69544" y="59691"/>
                  </a:lnTo>
                  <a:lnTo>
                    <a:pt x="17926" y="59691"/>
                  </a:lnTo>
                  <a:lnTo>
                    <a:pt x="17926" y="106460"/>
                  </a:lnTo>
                  <a:lnTo>
                    <a:pt x="0" y="106460"/>
                  </a:lnTo>
                  <a:lnTo>
                    <a:pt x="0" y="0"/>
                  </a:lnTo>
                  <a:lnTo>
                    <a:pt x="17926" y="0"/>
                  </a:lnTo>
                  <a:lnTo>
                    <a:pt x="17926" y="42769"/>
                  </a:lnTo>
                  <a:lnTo>
                    <a:pt x="69544" y="42769"/>
                  </a:lnTo>
                  <a:lnTo>
                    <a:pt x="69544" y="0"/>
                  </a:lnTo>
                  <a:lnTo>
                    <a:pt x="87470" y="0"/>
                  </a:ln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  <p:sp>
          <p:nvSpPr>
            <p:cNvPr id="18" name="Freeform: Shape 12">
              <a:extLst>
                <a:ext uri="{FF2B5EF4-FFF2-40B4-BE49-F238E27FC236}">
                  <a16:creationId xmlns:a16="http://schemas.microsoft.com/office/drawing/2014/main" id="{37C83F76-B9E1-0737-BF84-F3DC21969F4E}"/>
                </a:ext>
              </a:extLst>
            </p:cNvPr>
            <p:cNvSpPr/>
            <p:nvPr/>
          </p:nvSpPr>
          <p:spPr>
            <a:xfrm>
              <a:off x="1532597" y="6485584"/>
              <a:ext cx="83452" cy="106459"/>
            </a:xfrm>
            <a:custGeom>
              <a:avLst/>
              <a:gdLst>
                <a:gd name="connsiteX0" fmla="*/ 83453 w 83452"/>
                <a:gd name="connsiteY0" fmla="*/ 16923 h 106459"/>
                <a:gd name="connsiteX1" fmla="*/ 50691 w 83452"/>
                <a:gd name="connsiteY1" fmla="*/ 16923 h 106459"/>
                <a:gd name="connsiteX2" fmla="*/ 50691 w 83452"/>
                <a:gd name="connsiteY2" fmla="*/ 106460 h 106459"/>
                <a:gd name="connsiteX3" fmla="*/ 32765 w 83452"/>
                <a:gd name="connsiteY3" fmla="*/ 106460 h 106459"/>
                <a:gd name="connsiteX4" fmla="*/ 32765 w 83452"/>
                <a:gd name="connsiteY4" fmla="*/ 16923 h 106459"/>
                <a:gd name="connsiteX5" fmla="*/ 0 w 83452"/>
                <a:gd name="connsiteY5" fmla="*/ 16923 h 106459"/>
                <a:gd name="connsiteX6" fmla="*/ 0 w 83452"/>
                <a:gd name="connsiteY6" fmla="*/ 0 h 106459"/>
                <a:gd name="connsiteX7" fmla="*/ 83453 w 83452"/>
                <a:gd name="connsiteY7" fmla="*/ 0 h 106459"/>
                <a:gd name="connsiteX8" fmla="*/ 83453 w 83452"/>
                <a:gd name="connsiteY8" fmla="*/ 16923 h 10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452" h="106459">
                  <a:moveTo>
                    <a:pt x="83453" y="16923"/>
                  </a:moveTo>
                  <a:lnTo>
                    <a:pt x="50691" y="16923"/>
                  </a:lnTo>
                  <a:lnTo>
                    <a:pt x="50691" y="106460"/>
                  </a:lnTo>
                  <a:lnTo>
                    <a:pt x="32765" y="106460"/>
                  </a:lnTo>
                  <a:lnTo>
                    <a:pt x="32765" y="16923"/>
                  </a:lnTo>
                  <a:lnTo>
                    <a:pt x="0" y="16923"/>
                  </a:lnTo>
                  <a:lnTo>
                    <a:pt x="0" y="0"/>
                  </a:lnTo>
                  <a:lnTo>
                    <a:pt x="83453" y="0"/>
                  </a:lnTo>
                  <a:lnTo>
                    <a:pt x="83453" y="16923"/>
                  </a:lnTo>
                  <a:close/>
                </a:path>
              </a:pathLst>
            </a:custGeom>
            <a:solidFill>
              <a:schemeClr val="bg1"/>
            </a:solidFill>
            <a:ln w="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60" dirty="0"/>
            </a:p>
          </p:txBody>
        </p:sp>
      </p:grpSp>
      <p:sp>
        <p:nvSpPr>
          <p:cNvPr id="2" name="Rectangles 5">
            <a:extLst>
              <a:ext uri="{FF2B5EF4-FFF2-40B4-BE49-F238E27FC236}">
                <a16:creationId xmlns:a16="http://schemas.microsoft.com/office/drawing/2014/main" id="{4C7BD84B-38C7-2C49-2348-31E60253C6F4}"/>
              </a:ext>
            </a:extLst>
          </p:cNvPr>
          <p:cNvSpPr/>
          <p:nvPr userDrawn="1"/>
        </p:nvSpPr>
        <p:spPr>
          <a:xfrm>
            <a:off x="9220198" y="0"/>
            <a:ext cx="2971801" cy="68719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87FF3F9-12A7-6E64-58DA-28B2A01BBE31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D37074DF-DC73-BE21-6060-369FB00A47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506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TAR Section Divider 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D9C2E5C-B4CA-3244-7E74-36AE4888F0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B268915-6644-92E5-2B81-BCA768762270}"/>
              </a:ext>
            </a:extLst>
          </p:cNvPr>
          <p:cNvSpPr txBox="1">
            <a:spLocks/>
          </p:cNvSpPr>
          <p:nvPr/>
        </p:nvSpPr>
        <p:spPr>
          <a:xfrm>
            <a:off x="852488" y="1905000"/>
            <a:ext cx="9555162" cy="14620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sz="2000" b="0" dirty="0">
                <a:solidFill>
                  <a:schemeClr val="bg1"/>
                </a:solidFill>
              </a:rPr>
              <a:t>The information contained on this slide is controlled under the International Traffic in Arms Regulations (ITAR). Diversion contrary to U.S. law is prohibited.</a:t>
            </a:r>
          </a:p>
          <a:p>
            <a:pPr>
              <a:spcBef>
                <a:spcPts val="1800"/>
              </a:spcBef>
              <a:defRPr/>
            </a:pPr>
            <a:r>
              <a:rPr sz="2000" b="0" dirty="0">
                <a:solidFill>
                  <a:schemeClr val="bg1"/>
                </a:solidFill>
              </a:rPr>
              <a:t>U.S. Department of State authorization is required prior to export, re-export, transfer, or retransfer to foreign persons or parti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050DB91-4221-4499-1B7C-CBFC045C0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3545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AR Section Divider 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4C6E66E-0958-03D5-A1B7-196D5649C2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338A979-D0BA-2EE6-ECEB-1D3003381FF2}"/>
              </a:ext>
            </a:extLst>
          </p:cNvPr>
          <p:cNvSpPr txBox="1">
            <a:spLocks/>
          </p:cNvSpPr>
          <p:nvPr/>
        </p:nvSpPr>
        <p:spPr>
          <a:xfrm>
            <a:off x="852488" y="1905000"/>
            <a:ext cx="9555162" cy="14620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sz="2000" b="0" dirty="0">
                <a:solidFill>
                  <a:schemeClr val="bg1"/>
                </a:solidFill>
              </a:rPr>
              <a:t>The information contained on this slide is subject to the Export Administration Regulations (EAR). Diversion contrary to U.S. law is prohibited.</a:t>
            </a:r>
          </a:p>
          <a:p>
            <a:pPr>
              <a:spcBef>
                <a:spcPts val="1800"/>
              </a:spcBef>
              <a:defRPr/>
            </a:pPr>
            <a:r>
              <a:rPr sz="2000" b="0" dirty="0">
                <a:solidFill>
                  <a:schemeClr val="bg1"/>
                </a:solidFill>
              </a:rPr>
              <a:t>U.S. Department of Commerce authorization may be required prior to export, re-export, transfer, or retransfer to certain destinations or foreign persons.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A37E372C-EA82-243A-FE90-CECDD2521C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064206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sight En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CD435F1-2F1C-BD4B-A53F-6D062E780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4217120" y="3097941"/>
            <a:ext cx="3757760" cy="66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2767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p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570BD540-4FEF-AB4D-91E5-E26413DD6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6608DFD9-D976-CA44-AB7C-48FC98B198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2" y="941832"/>
            <a:ext cx="1050843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8A7A323-C30A-3049-89BD-D5DD3A50B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91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191548F-C037-D647-ACC2-6080DD5791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E4B21DCD-7B35-9343-AFE7-EA8C4A6345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3" y="941832"/>
            <a:ext cx="10640082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19055-631B-4A4E-9F2F-FAE6092892A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10640085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11FF4F54-F7FD-DD43-9035-9F3CA295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63662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767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4152" userDrawn="1">
          <p15:clr>
            <a:srgbClr val="FBAE40"/>
          </p15:clr>
        </p15:guide>
        <p15:guide id="6" orient="horz" pos="528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624" userDrawn="1">
          <p15:clr>
            <a:srgbClr val="FBAE40"/>
          </p15:clr>
        </p15:guide>
        <p15:guide id="9" pos="432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orient="horz" pos="100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42672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5"/>
          </p:nvPr>
        </p:nvSpPr>
        <p:spPr>
          <a:xfrm>
            <a:off x="78486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71A02DD8-6E03-AB17-FB62-9008C20F9F9A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ECA7A0FD-DDF6-AC3F-0507-F2E15108F6D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5EF5FA8-7B7B-C7D7-107D-976D2919B5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50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2" userDrawn="1">
          <p15:clr>
            <a:srgbClr val="FBAE40"/>
          </p15:clr>
        </p15:guide>
        <p15:guide id="2" orient="horz" pos="1224" userDrawn="1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  <p15:guide id="5" pos="2424" userDrawn="1">
          <p15:clr>
            <a:srgbClr val="FBAE40"/>
          </p15:clr>
        </p15:guide>
        <p15:guide id="6" pos="2688" userDrawn="1">
          <p15:clr>
            <a:srgbClr val="FBAE40"/>
          </p15:clr>
        </p15:guide>
        <p15:guide id="7" pos="4680" userDrawn="1">
          <p15:clr>
            <a:srgbClr val="FBAE40"/>
          </p15:clr>
        </p15:guide>
        <p15:guide id="8" pos="4944" userDrawn="1">
          <p15:clr>
            <a:srgbClr val="FBAE40"/>
          </p15:clr>
        </p15:guide>
        <p15:guide id="9" orient="horz" pos="7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BEE67AED-D594-B643-8EBE-2DA6FD44BD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2" y="941832"/>
            <a:ext cx="1050843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17" name="Title Placeholder 3">
            <a:extLst>
              <a:ext uri="{FF2B5EF4-FFF2-40B4-BE49-F238E27FC236}">
                <a16:creationId xmlns:a16="http://schemas.microsoft.com/office/drawing/2014/main" id="{2617F8F5-C25D-0343-89B2-64483998B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9A04097-824C-564F-A0C3-1CEFF5E04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41C6D9C-5CFD-B34A-AE2A-C9AA40B4DC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63A4C70-EBC8-DD40-A6FD-BEAE06B8DB6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096000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1601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0">
          <p15:clr>
            <a:srgbClr val="FBAE40"/>
          </p15:clr>
        </p15:guide>
        <p15:guide id="5" pos="7152">
          <p15:clr>
            <a:srgbClr val="FBAE40"/>
          </p15:clr>
        </p15:guide>
        <p15:guide id="6" pos="432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360" userDrawn="1">
          <p15:clr>
            <a:srgbClr val="FBAE40"/>
          </p15:clr>
        </p15:guide>
        <p15:guide id="9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pos="336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3">
            <a:extLst>
              <a:ext uri="{FF2B5EF4-FFF2-40B4-BE49-F238E27FC236}">
                <a16:creationId xmlns:a16="http://schemas.microsoft.com/office/drawing/2014/main" id="{CD2E9ECA-BB73-5446-94C6-7D515256A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8">
            <a:extLst>
              <a:ext uri="{FF2B5EF4-FFF2-40B4-BE49-F238E27FC236}">
                <a16:creationId xmlns:a16="http://schemas.microsoft.com/office/drawing/2014/main" id="{CD776A90-3591-4F4A-A6BD-AFC43685577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2" y="941832"/>
            <a:ext cx="1050843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D06CFF0-8DC9-7E41-AC40-F94BE31D73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00BAC10-21FA-674B-9265-1079E58C87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7CD4539-19F2-514E-A69E-E54F09AEBF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2672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E167795-E8E3-0B4D-94E4-420F0EA6AE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486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8108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2">
          <p15:clr>
            <a:srgbClr val="FBAE40"/>
          </p15:clr>
        </p15:guide>
        <p15:guide id="6" orient="horz" pos="4152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pos="432" userDrawn="1">
          <p15:clr>
            <a:srgbClr val="FBAE40"/>
          </p15:clr>
        </p15:guide>
        <p15:guide id="9" orient="horz" pos="3360" userDrawn="1">
          <p15:clr>
            <a:srgbClr val="FBAE40"/>
          </p15:clr>
        </p15:guide>
        <p15:guide id="10" pos="2424" userDrawn="1">
          <p15:clr>
            <a:srgbClr val="FBAE40"/>
          </p15:clr>
        </p15:guide>
        <p15:guide id="11" pos="2688" userDrawn="1">
          <p15:clr>
            <a:srgbClr val="FBAE40"/>
          </p15:clr>
        </p15:guide>
        <p15:guide id="12" pos="4680" userDrawn="1">
          <p15:clr>
            <a:srgbClr val="FBAE40"/>
          </p15:clr>
        </p15:guide>
        <p15:guide id="13" pos="4944" userDrawn="1">
          <p15:clr>
            <a:srgbClr val="FBAE40"/>
          </p15:clr>
        </p15:guide>
        <p15:guide id="14" orient="horz" pos="768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39762CA6-FE28-CB4A-9679-A779F7045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543"/>
            <a:ext cx="12192000" cy="6835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3C698969-5782-7844-892C-FF02731C211C}"/>
              </a:ext>
            </a:extLst>
          </p:cNvPr>
          <p:cNvSpPr/>
          <p:nvPr userDrawn="1"/>
        </p:nvSpPr>
        <p:spPr>
          <a:xfrm>
            <a:off x="0" y="-22768"/>
            <a:ext cx="12216130" cy="688076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FDCA00A-0B78-6444-90B3-2F7C3529BE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90" y="3191676"/>
            <a:ext cx="10497335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  <p:sp>
        <p:nvSpPr>
          <p:cNvPr id="9" name="Text Placeholder 55">
            <a:extLst>
              <a:ext uri="{FF2B5EF4-FFF2-40B4-BE49-F238E27FC236}">
                <a16:creationId xmlns:a16="http://schemas.microsoft.com/office/drawing/2014/main" id="{25E67E77-32D0-4E4D-8111-2B9C52C274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4" y="5076567"/>
            <a:ext cx="5874575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13" name="Picture 9" descr="Frame">
            <a:extLst>
              <a:ext uri="{FF2B5EF4-FFF2-40B4-BE49-F238E27FC236}">
                <a16:creationId xmlns:a16="http://schemas.microsoft.com/office/drawing/2014/main" id="{4A2703B9-B575-CC41-ADE4-1FAAC7A1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11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Frame">
            <a:extLst>
              <a:ext uri="{FF2B5EF4-FFF2-40B4-BE49-F238E27FC236}">
                <a16:creationId xmlns:a16="http://schemas.microsoft.com/office/drawing/2014/main" id="{02E32ABF-954C-2B41-BDC2-8F5795EC5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72BE1150-7599-F341-92C3-A04933DFF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4" y="5076567"/>
            <a:ext cx="5657577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A98C0A-C3E1-9045-AAAE-6F4892A3F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90" y="3191676"/>
            <a:ext cx="10497335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134E77-08B8-9048-9E65-FC8F726903BF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03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8">
          <p15:clr>
            <a:srgbClr val="FBAE40"/>
          </p15:clr>
        </p15:guide>
        <p15:guide id="3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ack with 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76FFF-E9F4-9A4F-A76D-C7C32F700137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C1E1C3-4B8D-0E46-84F5-2CBBCB32F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9" descr="Frame">
            <a:extLst>
              <a:ext uri="{FF2B5EF4-FFF2-40B4-BE49-F238E27FC236}">
                <a16:creationId xmlns:a16="http://schemas.microsoft.com/office/drawing/2014/main" id="{02E32ABF-954C-2B41-BDC2-8F5795EC5E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72BE1150-7599-F341-92C3-A04933DFF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4" y="5076567"/>
            <a:ext cx="5657577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A98C0A-C3E1-9045-AAAE-6F4892A3F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90" y="3191676"/>
            <a:ext cx="10497335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40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8">
          <p15:clr>
            <a:srgbClr val="FBAE40"/>
          </p15:clr>
        </p15:guide>
        <p15:guide id="3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id="{367A8948-9A9A-C749-98E6-E03CD6687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2ACA636-7711-1E45-B595-A50A28F1D5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38200" y="352425"/>
            <a:ext cx="1243330" cy="219075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1892E4B3-6A67-8743-9A55-704CF219A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276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tx1"/>
                </a:solidFill>
              </a:rPr>
              <a:t>Lorem ipsum dolor sit</a:t>
            </a:r>
            <a:br>
              <a:rPr lang="en-US">
                <a:solidFill>
                  <a:schemeClr val="tx1"/>
                </a:solidFill>
              </a:rPr>
            </a:br>
            <a:r>
              <a:rPr lang="en-US" err="1">
                <a:solidFill>
                  <a:schemeClr val="tx1"/>
                </a:solidFill>
              </a:rPr>
              <a:t>consect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err="1">
                <a:solidFill>
                  <a:schemeClr val="tx1"/>
                </a:solidFill>
              </a:rPr>
              <a:t>adipiscing</a:t>
            </a:r>
            <a:r>
              <a:rPr lang="en-US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8" name="Text Placeholder 55">
            <a:extLst>
              <a:ext uri="{FF2B5EF4-FFF2-40B4-BE49-F238E27FC236}">
                <a16:creationId xmlns:a16="http://schemas.microsoft.com/office/drawing/2014/main" id="{C019AF57-8294-7C4C-B419-5DDC88CF7A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4" y="5076567"/>
            <a:ext cx="619042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8279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52" userDrawn="1">
          <p15:clr>
            <a:srgbClr val="FBAE40"/>
          </p15:clr>
        </p15:guide>
        <p15:guide id="3" pos="528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6670A71-03FD-284C-90FD-84BB9921C10D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 dirty="0">
              <a:ea typeface="+mn-ea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E50815-B951-FB4F-98C3-6F9C392933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141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3EAAB0-E5E4-274A-8E9C-BB2E1EC7A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1696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5CFFAC5-B629-C048-8B4E-7EBD0F6B81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C674C98B-3A1C-214D-812E-783315BEF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3989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480" userDrawn="1">
          <p15:clr>
            <a:srgbClr val="FBAE40"/>
          </p15:clr>
        </p15:guide>
        <p15:guide id="4" orient="horz" pos="3953">
          <p15:clr>
            <a:srgbClr val="FBAE40"/>
          </p15:clr>
        </p15:guide>
        <p15:guide id="5" pos="7152">
          <p15:clr>
            <a:srgbClr val="FBAE40"/>
          </p15:clr>
        </p15:guide>
        <p15:guide id="6" orient="horz" pos="600" userDrawn="1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pos="4080" userDrawn="1">
          <p15:clr>
            <a:srgbClr val="FBAE40"/>
          </p15:clr>
        </p15:guide>
        <p15:guide id="9" orient="horz" pos="1008" userDrawn="1">
          <p15:clr>
            <a:srgbClr val="FBAE40"/>
          </p15:clr>
        </p15:guide>
        <p15:guide id="10" orient="horz" pos="3552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6670A71-03FD-284C-90FD-84BB9921C10D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 dirty="0">
              <a:ea typeface="+mn-ea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3EAAB0-E5E4-274A-8E9C-BB2E1EC7A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1696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5CFFAC5-B629-C048-8B4E-7EBD0F6B81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7" name="Text Placeholder 28">
            <a:extLst>
              <a:ext uri="{FF2B5EF4-FFF2-40B4-BE49-F238E27FC236}">
                <a16:creationId xmlns:a16="http://schemas.microsoft.com/office/drawing/2014/main" id="{4E447793-F4F4-1F42-8DA4-7DBF537838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2" y="941832"/>
            <a:ext cx="1050843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397E0C2-1A0E-7B45-B246-01690FB52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95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480" userDrawn="1">
          <p15:clr>
            <a:srgbClr val="FBAE40"/>
          </p15:clr>
        </p15:guide>
        <p15:guide id="4" orient="horz" pos="3953">
          <p15:clr>
            <a:srgbClr val="FBAE40"/>
          </p15:clr>
        </p15:guide>
        <p15:guide id="5" pos="7152">
          <p15:clr>
            <a:srgbClr val="FBAE40"/>
          </p15:clr>
        </p15:guide>
        <p15:guide id="6" orient="horz" pos="600" userDrawn="1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pos="4080" userDrawn="1">
          <p15:clr>
            <a:srgbClr val="FBAE40"/>
          </p15:clr>
        </p15:guide>
        <p15:guide id="9" orient="horz" pos="1008" userDrawn="1">
          <p15:clr>
            <a:srgbClr val="FBAE40"/>
          </p15:clr>
        </p15:guide>
        <p15:guide id="10" orient="horz" pos="355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ary Divider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shape&#10;&#10;Description automatically generated">
            <a:extLst>
              <a:ext uri="{FF2B5EF4-FFF2-40B4-BE49-F238E27FC236}">
                <a16:creationId xmlns:a16="http://schemas.microsoft.com/office/drawing/2014/main" id="{34A7F196-5670-AD4E-BF48-11F2AB93F4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913F8298-BACD-5E41-AEE5-78D60F844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674" y="376346"/>
            <a:ext cx="9553902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924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orient="horz" pos="360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648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ary Divider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4DE330-0E0A-6D4B-B75E-54639A746306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18BE65ED-2C42-6C45-87F0-5DB87CD9C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34C2E59-271D-6C4A-8038-E9E044A69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380FA0B4-F59B-B04C-A69B-D46E237F67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97663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0">
          <p15:clr>
            <a:srgbClr val="FBAE40"/>
          </p15:clr>
        </p15:guide>
        <p15:guide id="5" orient="horz" pos="4056" userDrawn="1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C9B63804-905D-5F4B-C249-8950559E0954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11B9FA2-E495-8079-9B07-2EB436898B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0" y="-543"/>
            <a:ext cx="12192000" cy="6835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9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AAE9733B-D051-CA0D-A097-EDC439F924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1FB33A56-1DAC-B391-EEA2-179A7749B046}"/>
              </a:ext>
            </a:extLst>
          </p:cNvPr>
          <p:cNvSpPr/>
          <p:nvPr userDrawn="1"/>
        </p:nvSpPr>
        <p:spPr>
          <a:xfrm>
            <a:off x="0" y="-22768"/>
            <a:ext cx="12216130" cy="688076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01529286-6AC6-2E0F-B2E0-992EBE9B5A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0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ary Divider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s 5">
            <a:extLst>
              <a:ext uri="{FF2B5EF4-FFF2-40B4-BE49-F238E27FC236}">
                <a16:creationId xmlns:a16="http://schemas.microsoft.com/office/drawing/2014/main" id="{601A91B5-142C-EF44-8BD1-D428B4550377}"/>
              </a:ext>
            </a:extLst>
          </p:cNvPr>
          <p:cNvSpPr/>
          <p:nvPr userDrawn="1"/>
        </p:nvSpPr>
        <p:spPr>
          <a:xfrm>
            <a:off x="9220198" y="0"/>
            <a:ext cx="2971801" cy="68719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0CC39BC-F710-1546-ACFA-0E43B5E79B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152899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902C96D-28C4-5649-923F-CA153F97101D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7">
            <a:extLst>
              <a:ext uri="{FF2B5EF4-FFF2-40B4-BE49-F238E27FC236}">
                <a16:creationId xmlns:a16="http://schemas.microsoft.com/office/drawing/2014/main" id="{F339DFA3-546C-AF44-B0A5-033B53F454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47D5C518-FEA8-E448-83F0-4001C6F43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3A3D60B-2009-AB4A-A28D-15D56C600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1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2">
          <p15:clr>
            <a:srgbClr val="FBAE40"/>
          </p15:clr>
        </p15:guide>
        <p15:guide id="5" pos="715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1A192258-455F-3442-A2E0-56A7FB75F1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D4DD9269-3785-8647-8BB3-BF10B9C71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EBAB1D1-DB03-5E4F-846D-6E5F43AD3C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39" y="3998913"/>
            <a:ext cx="884764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E8A32A5-CE5B-DB42-A821-CBE26ED350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3595A6BF-6FE4-6C47-8010-4682EA0AE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DC6997D2-7105-6544-8956-6944596800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90EC7415-7456-DA4E-8456-22DF07BF7C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1C1B3211-34C3-EE4E-8E4E-1F0BE38B9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FFB61E-300E-B84F-8EB9-38EC37E9BACB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63A024D-8337-E54E-A41F-3CEC4536A598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EA5C906-4509-0A46-BBDD-F8D5E2B74C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198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4963B398-1F3D-6646-9EF6-5A2634A25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ED4BC287-0D66-1741-B482-8911F1CD18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2748ACEA-E718-584B-A9E8-911650B0D7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39" y="3998913"/>
            <a:ext cx="884764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B7C378FC-0A3B-0F45-8C62-96462992A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F2D1E1FC-2B70-8245-9426-F6E0989630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AF0FC5CD-AE50-784E-AC39-4A76B06AC6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5FD058C2-D00F-AB4D-898B-E80668418A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3F0B492-ED26-6940-9CB9-CA9E5B7D22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3E5EA53-C873-9840-96D6-D6EA7E5159BA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FFD0C05-0F77-7748-8EC8-2998ED8D6AFD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BED0078-A0E8-9D4D-A1D0-33DD203D4C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97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FA40DE4-703E-4F4F-98DD-42FE209AB494}"/>
              </a:ext>
            </a:extLst>
          </p:cNvPr>
          <p:cNvCxnSpPr>
            <a:cxnSpLocks/>
          </p:cNvCxnSpPr>
          <p:nvPr userDrawn="1"/>
        </p:nvCxnSpPr>
        <p:spPr>
          <a:xfrm>
            <a:off x="1616856" y="3484692"/>
            <a:ext cx="1539256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10579543-1896-3545-BC93-A0E9196120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1586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5176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4F114B79-41DE-A24A-A0DA-AF1FDE591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375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7344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587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6F68ADA9-0181-CF4F-93EF-7AAB81E149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93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04124E09-D0FF-5548-9C10-7182800C92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78915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12">
            <a:extLst>
              <a:ext uri="{FF2B5EF4-FFF2-40B4-BE49-F238E27FC236}">
                <a16:creationId xmlns:a16="http://schemas.microsoft.com/office/drawing/2014/main" id="{2310FA7A-10C1-8F4B-8D25-AD349C1DA2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37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7227903C-E9DC-8648-9B89-7767753D775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736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375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B32EBF37-4C9F-1F42-B329-48FD79E581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8622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2212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2862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067DB857-E8DE-4248-AAB2-DF980E0806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49878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33468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49878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0B8D21C-8B78-C545-8C47-E4B83CA5CDAB}"/>
              </a:ext>
            </a:extLst>
          </p:cNvPr>
          <p:cNvCxnSpPr>
            <a:cxnSpLocks/>
          </p:cNvCxnSpPr>
          <p:nvPr userDrawn="1"/>
        </p:nvCxnSpPr>
        <p:spPr>
          <a:xfrm>
            <a:off x="4349412" y="3484692"/>
            <a:ext cx="1539256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8F55081-EA49-D347-B388-CCAEC641A341}"/>
              </a:ext>
            </a:extLst>
          </p:cNvPr>
          <p:cNvCxnSpPr>
            <a:cxnSpLocks/>
          </p:cNvCxnSpPr>
          <p:nvPr userDrawn="1"/>
        </p:nvCxnSpPr>
        <p:spPr>
          <a:xfrm>
            <a:off x="7101214" y="3484692"/>
            <a:ext cx="1539256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1FA2A22-1173-2E4C-90F7-69DE1319B71A}"/>
              </a:ext>
            </a:extLst>
          </p:cNvPr>
          <p:cNvCxnSpPr>
            <a:cxnSpLocks/>
          </p:cNvCxnSpPr>
          <p:nvPr userDrawn="1"/>
        </p:nvCxnSpPr>
        <p:spPr>
          <a:xfrm>
            <a:off x="9820904" y="3484692"/>
            <a:ext cx="1539256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 Placeholder 3">
            <a:extLst>
              <a:ext uri="{FF2B5EF4-FFF2-40B4-BE49-F238E27FC236}">
                <a16:creationId xmlns:a16="http://schemas.microsoft.com/office/drawing/2014/main" id="{E6B93876-AC51-CC4B-8A92-A5B6BA093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8">
            <a:extLst>
              <a:ext uri="{FF2B5EF4-FFF2-40B4-BE49-F238E27FC236}">
                <a16:creationId xmlns:a16="http://schemas.microsoft.com/office/drawing/2014/main" id="{2629CB18-0915-D24F-80DC-9D7FED1BBD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2" y="941832"/>
            <a:ext cx="1050843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5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F8BA014-8222-2D45-9531-12AAF34F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088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up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44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6222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6F68ADA9-0181-CF4F-93EF-7AAB81E149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04124E09-D0FF-5548-9C10-7182800C92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78740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12">
            <a:extLst>
              <a:ext uri="{FF2B5EF4-FFF2-40B4-BE49-F238E27FC236}">
                <a16:creationId xmlns:a16="http://schemas.microsoft.com/office/drawing/2014/main" id="{2310FA7A-10C1-8F4B-8D25-AD349C1DA2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7227903C-E9DC-8648-9B89-7767753D775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6496" y="4523164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27296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2981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3128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25" name="Title Placeholder 3">
            <a:extLst>
              <a:ext uri="{FF2B5EF4-FFF2-40B4-BE49-F238E27FC236}">
                <a16:creationId xmlns:a16="http://schemas.microsoft.com/office/drawing/2014/main" id="{5BC2F003-516B-7640-BDBB-14889F259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8">
            <a:extLst>
              <a:ext uri="{FF2B5EF4-FFF2-40B4-BE49-F238E27FC236}">
                <a16:creationId xmlns:a16="http://schemas.microsoft.com/office/drawing/2014/main" id="{3F0A3ECE-EEA6-134F-9307-A99EC97D4E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2" y="941832"/>
            <a:ext cx="1050843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2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FFE562E-0FE6-4649-8B21-DE77FD7C2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370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xed content r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s 5">
            <a:extLst>
              <a:ext uri="{FF2B5EF4-FFF2-40B4-BE49-F238E27FC236}">
                <a16:creationId xmlns:a16="http://schemas.microsoft.com/office/drawing/2014/main" id="{5DF715B5-7BD3-5946-BE35-8F33B0545D16}"/>
              </a:ext>
            </a:extLst>
          </p:cNvPr>
          <p:cNvSpPr/>
          <p:nvPr userDrawn="1"/>
        </p:nvSpPr>
        <p:spPr>
          <a:xfrm>
            <a:off x="7131685" y="-13970"/>
            <a:ext cx="5073650" cy="68719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C8D2E375-F7A0-9F49-9FE9-69E2B38273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356225" y="1484313"/>
            <a:ext cx="6835775" cy="3859212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7B8A9516-6054-6E44-A7B6-BDF0148603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3440" y="2745308"/>
            <a:ext cx="3676650" cy="13673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Placeholder 3">
            <a:extLst>
              <a:ext uri="{FF2B5EF4-FFF2-40B4-BE49-F238E27FC236}">
                <a16:creationId xmlns:a16="http://schemas.microsoft.com/office/drawing/2014/main" id="{279117BA-FC53-E24B-9719-228C408A4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630908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50379D0C-E448-7543-B2AF-0A7079C23F2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3" y="941832"/>
            <a:ext cx="630390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78110B6-A117-DC44-AEE2-D1B889FB2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2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  <p15:guide id="9" pos="52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/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6A265D28-EE44-C941-BD18-475E8C098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4DF0A02-5504-3E4B-94E9-D3DC9628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8E212-1EB2-6A48-BA3C-72A80BD0F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20135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AF6FF7EE-0BB8-AE4D-88A3-B35DF0B42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4DF0A02-5504-3E4B-94E9-D3DC9628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8E212-1EB2-6A48-BA3C-72A80BD0F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10302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hort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651769-110D-7B41-B5B2-55375B2EF9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5243477"/>
            <a:ext cx="745490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6117" y="1436687"/>
            <a:ext cx="8629651" cy="362105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1ED5DCD9-AE22-BC42-BA2A-7942143FA5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401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quote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51BE2CEB-608E-E84D-AFF0-7E6FCBC70B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464" y="5243477"/>
            <a:ext cx="8414328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630397"/>
            <a:ext cx="8629651" cy="342734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7938" indent="-7938">
              <a:lnSpc>
                <a:spcPct val="100000"/>
              </a:lnSpc>
              <a:buNone/>
              <a:tabLst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BFE4491-5A72-D247-9231-A68CFE235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565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F262A2DC-368D-AA93-908A-5DC233269E0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2D1A9CF-3A68-0E05-04D4-7B8E7F7D9E9B}"/>
              </a:ext>
            </a:extLst>
          </p:cNvPr>
          <p:cNvSpPr/>
          <p:nvPr/>
        </p:nvSpPr>
        <p:spPr>
          <a:xfrm>
            <a:off x="10947400" y="6054725"/>
            <a:ext cx="815975" cy="604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4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90FC513-AEB6-92BF-0350-86F1686B641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9A3BAC82-9E32-9D06-B077-843D733099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E4D9D43-C0A5-23A6-2C0F-12EBE3855D81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428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114C1FBF-4367-4C4F-8D4C-DF394870A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483" y="5243477"/>
            <a:ext cx="745490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630397"/>
            <a:ext cx="8629651" cy="342734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9487674E-0D9E-A949-93FC-1A1C582E4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4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and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4DE330-0E0A-6D4B-B75E-54639A746306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695" y="39688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6C86A6D7-A709-7E49-A991-4712050109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1772" y="5245100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 Placeholder 37">
            <a:extLst>
              <a:ext uri="{FF2B5EF4-FFF2-40B4-BE49-F238E27FC236}">
                <a16:creationId xmlns:a16="http://schemas.microsoft.com/office/drawing/2014/main" id="{8B3C0A33-1875-D643-B323-4AEFFAC589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1772" y="3167894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 Placeholder 37">
            <a:extLst>
              <a:ext uri="{FF2B5EF4-FFF2-40B4-BE49-F238E27FC236}">
                <a16:creationId xmlns:a16="http://schemas.microsoft.com/office/drawing/2014/main" id="{A504656A-7F25-984F-B07B-41D133A12E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61772" y="1123761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43852B86-E572-3A4D-A49D-884A3B019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61772" y="4879724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 Placeholder 37">
            <a:extLst>
              <a:ext uri="{FF2B5EF4-FFF2-40B4-BE49-F238E27FC236}">
                <a16:creationId xmlns:a16="http://schemas.microsoft.com/office/drawing/2014/main" id="{21F1E876-FBEE-3A4E-BEEA-F01AE1F271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61772" y="2806875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 Placeholder 37">
            <a:extLst>
              <a:ext uri="{FF2B5EF4-FFF2-40B4-BE49-F238E27FC236}">
                <a16:creationId xmlns:a16="http://schemas.microsoft.com/office/drawing/2014/main" id="{57725A09-95FC-8144-9805-7CF8E00602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61772" y="761167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B45E881D-FF54-F741-AA7C-75FBDA3D4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804" y="2982336"/>
            <a:ext cx="3710353" cy="43258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4D4800A-BF10-2A4C-9A3B-07CE331C0D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72063" y="761166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9266B364-B0F6-D34D-8710-311DEF21A48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72063" y="2812265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56334D0D-AACA-F841-A2F8-503EE230E09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072063" y="4882506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2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2E1F59A-A205-324F-BCDF-C53DF10E8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20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2">
          <p15:clr>
            <a:srgbClr val="FBAE40"/>
          </p15:clr>
        </p15:guide>
        <p15:guide id="4" pos="432" userDrawn="1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up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4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6222" y="4028661"/>
            <a:ext cx="2289948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1256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2855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1070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3128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6CDC96AD-BC72-E044-95B9-3626A77B93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613C307B-B839-8D4D-ABB6-F6AEA66F513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78740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DBD27612-C9A6-364D-A37A-215FF5FCD31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49E9A7EB-46E9-F242-838F-ADF1BFA8DE3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9" name="Title Placeholder 3">
            <a:extLst>
              <a:ext uri="{FF2B5EF4-FFF2-40B4-BE49-F238E27FC236}">
                <a16:creationId xmlns:a16="http://schemas.microsoft.com/office/drawing/2014/main" id="{7253646A-D799-2443-91E4-7F9E966C9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7FFC4297-711D-C046-916F-0E6CC2E9FFA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3" y="941832"/>
            <a:ext cx="10499888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2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4B1724A6-DDB0-A64F-83D7-B0D7E17F9D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80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E4E5948C-F770-D442-89C7-F1FBCA2CC5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BFC29A3-3623-6C40-8330-FACE0F19B546}"/>
              </a:ext>
            </a:extLst>
          </p:cNvPr>
          <p:cNvSpPr txBox="1"/>
          <p:nvPr userDrawn="1"/>
        </p:nvSpPr>
        <p:spPr>
          <a:xfrm>
            <a:off x="649167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595AE243-576C-9B47-AB74-61C56CBBC5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54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0A6F92CA-792F-DB4A-9D71-99146A55D6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36D0CC3-E8D9-F041-9634-9CCFBF24A82E}"/>
              </a:ext>
            </a:extLst>
          </p:cNvPr>
          <p:cNvSpPr txBox="1"/>
          <p:nvPr userDrawn="1"/>
        </p:nvSpPr>
        <p:spPr>
          <a:xfrm>
            <a:off x="637737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6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601D6CD1-B7BB-C849-AAE4-0FDE27C3D1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38200" y="352425"/>
            <a:ext cx="124333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383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5D7F826-0A7C-E245-8B3A-A7251BD88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8299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sight En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278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778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sight End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2CFAFCDD-8C9A-BB4A-87E0-5EEE1E65AA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9715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66BFC81D-42B0-4140-AFBA-C54C5ABAE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CD435F1-2F1C-BD4B-A53F-6D062E780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41135" y="3097941"/>
            <a:ext cx="3757760" cy="66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282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ack with 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BBE56A-FB54-D3EB-6A29-0A5E0B44CF04}"/>
              </a:ext>
            </a:extLst>
          </p:cNvPr>
          <p:cNvSpPr/>
          <p:nvPr/>
        </p:nvSpPr>
        <p:spPr>
          <a:xfrm>
            <a:off x="10947400" y="6054725"/>
            <a:ext cx="815975" cy="604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F965DD1B-BD56-716F-996D-7815BE35D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C67B9B07-86CD-D520-0540-43B7C52BD7B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14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DA350B7-CD7F-7A52-9C12-FFEB90239EE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46C0F5-BED9-BDFC-D9F3-ADBD23C8154D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888A92-564C-C52A-B66D-A51FCE8D6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9" descr="Frame">
            <a:extLst>
              <a:ext uri="{FF2B5EF4-FFF2-40B4-BE49-F238E27FC236}">
                <a16:creationId xmlns:a16="http://schemas.microsoft.com/office/drawing/2014/main" id="{0C6CF3FE-61A0-08CC-4559-C0B6115C69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958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lamp, light&#10;&#10;Description automatically generated">
            <a:extLst>
              <a:ext uri="{FF2B5EF4-FFF2-40B4-BE49-F238E27FC236}">
                <a16:creationId xmlns:a16="http://schemas.microsoft.com/office/drawing/2014/main" id="{12DD4F86-0839-4F4D-86B3-2944AE4186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20514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s 5">
            <a:extLst>
              <a:ext uri="{FF2B5EF4-FFF2-40B4-BE49-F238E27FC236}">
                <a16:creationId xmlns:a16="http://schemas.microsoft.com/office/drawing/2014/main" id="{9E1EF039-93ED-6D47-98B6-4F3E3A68CEFE}"/>
              </a:ext>
            </a:extLst>
          </p:cNvPr>
          <p:cNvSpPr/>
          <p:nvPr userDrawn="1"/>
        </p:nvSpPr>
        <p:spPr>
          <a:xfrm>
            <a:off x="6096000" y="-13970"/>
            <a:ext cx="6109335" cy="68719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99C3835D-E0AB-1D49-A9AD-9AA573AA392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968752" y="1675588"/>
            <a:ext cx="4379970" cy="403892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5" name="Title Placeholder 3">
            <a:extLst>
              <a:ext uri="{FF2B5EF4-FFF2-40B4-BE49-F238E27FC236}">
                <a16:creationId xmlns:a16="http://schemas.microsoft.com/office/drawing/2014/main" id="{B5A27C0B-8685-CD42-B549-02969AFD9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517993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8">
            <a:extLst>
              <a:ext uri="{FF2B5EF4-FFF2-40B4-BE49-F238E27FC236}">
                <a16:creationId xmlns:a16="http://schemas.microsoft.com/office/drawing/2014/main" id="{0A6E08A1-5D47-3647-9AFA-31DD0A0C1B7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3" y="941832"/>
            <a:ext cx="517332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4E5BEAC-6FF8-144D-853A-648BE6A5E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8FF930-967D-4643-878E-53A2EF0ABDE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180764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2754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1056" userDrawn="1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+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99C3835D-E0AB-1D49-A9AD-9AA573AA392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Title Placeholder 3">
            <a:extLst>
              <a:ext uri="{FF2B5EF4-FFF2-40B4-BE49-F238E27FC236}">
                <a16:creationId xmlns:a16="http://schemas.microsoft.com/office/drawing/2014/main" id="{8F0B94B4-E938-B24B-AF99-FD41F764E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4" y="548640"/>
            <a:ext cx="503683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9627A05C-6654-7D4F-96C0-0EBBBB3F161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103" y="941832"/>
            <a:ext cx="5045297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9888EEC-7C01-9D48-A53D-AE6EF0ABD0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7CD2694-8040-F74E-A308-B5233557F8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5954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1056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695" y="40503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B45E881D-FF54-F741-AA7C-75FBDA3D4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804" y="1999401"/>
            <a:ext cx="3710353" cy="9712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4D4800A-BF10-2A4C-9A3B-07CE331C0D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07CD87BA-1D84-334B-8EB5-E50D5AB809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95" y="3681039"/>
            <a:ext cx="3710353" cy="2704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5FF6A19-DA11-4047-B8E8-FB9D2783D4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8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1512" userDrawn="1">
          <p15:clr>
            <a:srgbClr val="FBAE40"/>
          </p15:clr>
        </p15:guide>
        <p15:guide id="8" orient="horz" pos="2448" userDrawn="1">
          <p15:clr>
            <a:srgbClr val="FBAE40"/>
          </p15:clr>
        </p15:guide>
        <p15:guide id="9" orient="horz" pos="2688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39762CA6-FE28-CB4A-9679-A779F7045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542"/>
            <a:ext cx="12192000" cy="6858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27A0AB5-E5F2-4A31-AE59-A259513B61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7736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0D033-DCD1-21BB-DF54-4ABBB15C3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D607DC-C575-A528-89C8-82A3C74B52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7BF516-CB31-3E87-7DDE-FCB151CE77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A7D806-E27F-B142-B192-F4E07AF23670}" type="datetimeFigureOut">
              <a:rPr lang="en-US" smtClean="0"/>
              <a:t>3/15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7B7E6F-F8D0-1425-BCA9-C83947878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6DA59-FD24-9D6F-F8D1-BC52A3101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EAD7A6-31D1-2C47-A0A5-E967FD04BAD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6435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2F2FB-6CCD-975D-1E9D-76B630B646BB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502141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181E556-5D9C-8288-B064-557607CAE66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0E5399F7-071E-D9BD-6155-45586DA734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85FCF22-BC6B-612B-533E-F1EE4DD88AF2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 dirty="0">
              <a:ea typeface="+mn-ea"/>
            </a:endParaRPr>
          </a:p>
        </p:txBody>
      </p:sp>
      <p:pic>
        <p:nvPicPr>
          <p:cNvPr id="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1686C85-0437-35A1-32B7-653728F4F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6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80" userDrawn="1">
          <p15:clr>
            <a:srgbClr val="FBAE40"/>
          </p15:clr>
        </p15:guide>
        <p15:guide id="2" orient="horz" pos="600" userDrawn="1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4080" userDrawn="1">
          <p15:clr>
            <a:srgbClr val="FBAE40"/>
          </p15:clr>
        </p15:guide>
        <p15:guide id="5" orient="horz" pos="1008" userDrawn="1">
          <p15:clr>
            <a:srgbClr val="FBAE40"/>
          </p15:clr>
        </p15:guide>
        <p15:guide id="6" orient="horz" pos="355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DD35A9-F531-13CD-E57F-1E6C11E1DD17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7B8331C-FA36-F748-3809-C1CE12C4349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EA47FB83-3033-8A85-39BB-08B1C8D64B7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42C30CD-3D3F-C219-D534-5129D698E6E8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 dirty="0">
              <a:ea typeface="+mn-ea"/>
            </a:endParaRPr>
          </a:p>
        </p:txBody>
      </p:sp>
      <p:pic>
        <p:nvPicPr>
          <p:cNvPr id="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5185F2C-18E7-C0A4-CB3F-3C3D065736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806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80" userDrawn="1">
          <p15:clr>
            <a:srgbClr val="FBAE40"/>
          </p15:clr>
        </p15:guide>
        <p15:guide id="2" orient="horz" pos="600" userDrawn="1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4080" userDrawn="1">
          <p15:clr>
            <a:srgbClr val="FBAE40"/>
          </p15:clr>
        </p15:guide>
        <p15:guide id="5" orient="horz" pos="1008" userDrawn="1">
          <p15:clr>
            <a:srgbClr val="FBAE40"/>
          </p15:clr>
        </p15:guide>
        <p15:guide id="6" orient="horz" pos="355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3">
            <a:extLst>
              <a:ext uri="{FF2B5EF4-FFF2-40B4-BE49-F238E27FC236}">
                <a16:creationId xmlns:a16="http://schemas.microsoft.com/office/drawing/2014/main" id="{2EF7A6A0-5920-53D2-BF00-4609F15F007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549275"/>
            <a:ext cx="105156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1C37170-88AB-D670-3CD1-BF49E7A255B1}"/>
              </a:ext>
            </a:extLst>
          </p:cNvPr>
          <p:cNvSpPr txBox="1">
            <a:spLocks/>
          </p:cNvSpPr>
          <p:nvPr/>
        </p:nvSpPr>
        <p:spPr bwMode="gray">
          <a:xfrm>
            <a:off x="10648950" y="6457950"/>
            <a:ext cx="735013" cy="15398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658D8A2-A20B-AA44-B358-9A0D03381CCD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EBB899C-6A85-7E68-6BBB-C45C77987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6363"/>
            <a:ext cx="4114800" cy="153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C562A0F2-3643-9498-CBFC-D7C551C761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648632" y="6458523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91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4" r:id="rId24"/>
    <p:sldLayoutId id="2147483885" r:id="rId25"/>
    <p:sldLayoutId id="2147483886" r:id="rId26"/>
    <p:sldLayoutId id="2147483887" r:id="rId27"/>
    <p:sldLayoutId id="2147483888" r:id="rId28"/>
    <p:sldLayoutId id="2147483889" r:id="rId29"/>
    <p:sldLayoutId id="2147483890" r:id="rId30"/>
    <p:sldLayoutId id="2147483891" r:id="rId31"/>
    <p:sldLayoutId id="2147483892" r:id="rId32"/>
    <p:sldLayoutId id="2147483893" r:id="rId33"/>
    <p:sldLayoutId id="2147483894" r:id="rId34"/>
    <p:sldLayoutId id="2147483895" r:id="rId35"/>
    <p:sldLayoutId id="2147483896" r:id="rId36"/>
    <p:sldLayoutId id="2147483898" r:id="rId37"/>
    <p:sldLayoutId id="2147483844" r:id="rId38"/>
    <p:sldLayoutId id="2147483834" r:id="rId39"/>
    <p:sldLayoutId id="2147483811" r:id="rId40"/>
    <p:sldLayoutId id="2147483812" r:id="rId41"/>
    <p:sldLayoutId id="2147483846" r:id="rId42"/>
    <p:sldLayoutId id="2147483847" r:id="rId43"/>
    <p:sldLayoutId id="2147483809" r:id="rId44"/>
    <p:sldLayoutId id="2147483810" r:id="rId45"/>
    <p:sldLayoutId id="2147483814" r:id="rId46"/>
    <p:sldLayoutId id="2147483815" r:id="rId47"/>
    <p:sldLayoutId id="2147483820" r:id="rId48"/>
    <p:sldLayoutId id="2147483822" r:id="rId49"/>
    <p:sldLayoutId id="2147483823" r:id="rId50"/>
    <p:sldLayoutId id="2147483825" r:id="rId51"/>
    <p:sldLayoutId id="2147483826" r:id="rId52"/>
    <p:sldLayoutId id="2147483827" r:id="rId53"/>
    <p:sldLayoutId id="2147483813" r:id="rId54"/>
    <p:sldLayoutId id="2147483828" r:id="rId55"/>
    <p:sldLayoutId id="2147483829" r:id="rId56"/>
    <p:sldLayoutId id="2147483830" r:id="rId57"/>
    <p:sldLayoutId id="2147483831" r:id="rId58"/>
    <p:sldLayoutId id="2147483832" r:id="rId59"/>
    <p:sldLayoutId id="2147483833" r:id="rId60"/>
    <p:sldLayoutId id="2147483824" r:id="rId61"/>
    <p:sldLayoutId id="2147483835" r:id="rId62"/>
    <p:sldLayoutId id="2147483836" r:id="rId63"/>
    <p:sldLayoutId id="2147483837" r:id="rId64"/>
    <p:sldLayoutId id="2147483845" r:id="rId65"/>
    <p:sldLayoutId id="2147483838" r:id="rId66"/>
    <p:sldLayoutId id="2147483840" r:id="rId67"/>
    <p:sldLayoutId id="2147483841" r:id="rId68"/>
    <p:sldLayoutId id="2147483842" r:id="rId69"/>
    <p:sldLayoutId id="2147483843" r:id="rId70"/>
    <p:sldLayoutId id="2147483817" r:id="rId71"/>
    <p:sldLayoutId id="2147483816" r:id="rId72"/>
    <p:sldLayoutId id="2147483818" r:id="rId73"/>
    <p:sldLayoutId id="2147483819" r:id="rId74"/>
    <p:sldLayoutId id="2147483899" r:id="rId75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9pPr>
    </p:titleStyle>
    <p:bodyStyle>
      <a:lvl1pPr marL="182563" indent="-182563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rgbClr val="262626"/>
          </a:solidFill>
          <a:latin typeface="+mn-lt"/>
          <a:ea typeface="+mn-ea"/>
          <a:cs typeface="+mn-cs"/>
        </a:defRPr>
      </a:lvl1pPr>
      <a:lvl2pPr marL="365125" indent="-182563" algn="l" rtl="0" eaLnBrk="1" fontAlgn="base" hangingPunct="1"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rgbClr val="262626"/>
          </a:solidFill>
          <a:latin typeface="+mn-lt"/>
          <a:ea typeface="+mn-ea"/>
          <a:cs typeface="+mn-cs"/>
        </a:defRPr>
      </a:lvl2pPr>
      <a:lvl3pPr marL="530225" indent="-163513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+mn-lt"/>
          <a:ea typeface="+mn-ea"/>
          <a:cs typeface="+mn-cs"/>
        </a:defRPr>
      </a:lvl3pPr>
      <a:lvl4pPr marL="687388" indent="-171450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262626"/>
          </a:solidFill>
          <a:latin typeface="+mn-lt"/>
          <a:ea typeface="+mn-ea"/>
          <a:cs typeface="+mn-cs"/>
        </a:defRPr>
      </a:lvl4pPr>
      <a:lvl5pPr marL="857250" indent="-171450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kern="1200" dirty="0">
          <a:solidFill>
            <a:srgbClr val="262626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orient="horz" pos="5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10" Type="http://schemas.openxmlformats.org/officeDocument/2006/relationships/hyperlink" Target="https://en.wikipedia.org/wiki/Front-to-back_ratio" TargetMode="External"/><Relationship Id="rId4" Type="http://schemas.openxmlformats.org/officeDocument/2006/relationships/image" Target="../media/image54.svg"/><Relationship Id="rId9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jpeg"/><Relationship Id="rId18" Type="http://schemas.openxmlformats.org/officeDocument/2006/relationships/image" Target="../media/image41.jpeg"/><Relationship Id="rId3" Type="http://schemas.openxmlformats.org/officeDocument/2006/relationships/image" Target="../media/image26.jpeg"/><Relationship Id="rId21" Type="http://schemas.openxmlformats.org/officeDocument/2006/relationships/image" Target="../media/image44.png"/><Relationship Id="rId7" Type="http://schemas.openxmlformats.org/officeDocument/2006/relationships/image" Target="../media/image30.jpe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9.png"/><Relationship Id="rId20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emf"/><Relationship Id="rId5" Type="http://schemas.openxmlformats.org/officeDocument/2006/relationships/image" Target="../media/image28.jpeg"/><Relationship Id="rId15" Type="http://schemas.openxmlformats.org/officeDocument/2006/relationships/image" Target="../media/image38.jpe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image" Target="../media/image27.jpe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1C4DA75-6F1D-FDEB-CFB9-CEC3F33407B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b="324"/>
          <a:stretch>
            <a:fillRect/>
          </a:stretch>
        </p:blipFill>
        <p:spPr>
          <a:xfrm>
            <a:off x="20" y="-543"/>
            <a:ext cx="12191980" cy="6835775"/>
          </a:xfrm>
          <a:prstGeom prst="rect">
            <a:avLst/>
          </a:prstGeom>
          <a:noFill/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516984D0-1BA5-F4BE-7BD1-BE472B254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290" y="3191676"/>
            <a:ext cx="10497335" cy="1325563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>
              <a:defRPr/>
            </a:pPr>
            <a:r>
              <a:rPr lang="en-US" sz="4000" noProof="0" dirty="0"/>
              <a:t>Digital Twin-Enabled Design of 5G &amp; 6G Satellite Link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01EE8D4-1A2C-0DAE-47C0-776C9861C99C}"/>
              </a:ext>
            </a:extLst>
          </p:cNvPr>
          <p:cNvSpPr txBox="1"/>
          <p:nvPr/>
        </p:nvSpPr>
        <p:spPr>
          <a:xfrm>
            <a:off x="854434" y="5076567"/>
            <a:ext cx="5874575" cy="561491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defTabSz="9144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b="1" kern="1200" noProof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. Sassan Ahmadi</a:t>
            </a:r>
          </a:p>
          <a:p>
            <a:pPr defTabSz="9144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1400" b="1" kern="1200" noProof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defTabSz="9144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kern="1200" noProof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sight Technologies</a:t>
            </a:r>
          </a:p>
          <a:p>
            <a:pPr defTabSz="9144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kern="1200" noProof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ch 2026</a:t>
            </a:r>
          </a:p>
        </p:txBody>
      </p:sp>
    </p:spTree>
    <p:extLst>
      <p:ext uri="{BB962C8B-B14F-4D97-AF65-F5344CB8AC3E}">
        <p14:creationId xmlns:p14="http://schemas.microsoft.com/office/powerpoint/2010/main" val="302566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038D5-3358-5254-2450-BCA64ED3D4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1DDE1-8735-1C3A-0BBA-602D09016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ystemVue: An RF Digital Twi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64D7318-043B-71AF-6E34-042A9E8FC931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rcRect/>
          <a:stretch/>
        </p:blipFill>
        <p:spPr>
          <a:xfrm>
            <a:off x="0" y="-120650"/>
            <a:ext cx="12192000" cy="6978650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F5C39DD-D9F2-950A-8DE5-656C7D0BC422}"/>
              </a:ext>
            </a:extLst>
          </p:cNvPr>
          <p:cNvSpPr txBox="1"/>
          <p:nvPr/>
        </p:nvSpPr>
        <p:spPr>
          <a:xfrm>
            <a:off x="376008" y="1676836"/>
            <a:ext cx="3792157" cy="338303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 defTabSz="914400" fontAlgn="auto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2000" b="1" noProof="0" dirty="0">
                <a:solidFill>
                  <a:schemeClr val="bg1"/>
                </a:solidFill>
                <a:latin typeface="Arial"/>
                <a:cs typeface="Arial"/>
              </a:rPr>
              <a:t>SystemVue</a:t>
            </a:r>
            <a:r>
              <a:rPr lang="en-US" sz="2000" noProof="0" dirty="0">
                <a:solidFill>
                  <a:schemeClr val="bg1"/>
                </a:solidFill>
                <a:latin typeface="Arial"/>
                <a:cs typeface="Arial"/>
              </a:rPr>
              <a:t> is a Measurement-based High-Fidelity RF Simulation Tool for Modeling RF and Antenna Systems.</a:t>
            </a:r>
          </a:p>
          <a:p>
            <a:pPr marL="342900" indent="-342900" defTabSz="914400" fontAlgn="auto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2000" noProof="0" dirty="0">
                <a:solidFill>
                  <a:schemeClr val="bg1"/>
                </a:solidFill>
                <a:latin typeface="Arial"/>
                <a:cs typeface="Arial"/>
              </a:rPr>
              <a:t>SystemVue Comprises Time and Frequency Domain Analyses and Phased-Array </a:t>
            </a:r>
          </a:p>
          <a:p>
            <a:pPr marL="342900" indent="-342900" defTabSz="914400" fontAlgn="auto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2000" noProof="0" dirty="0">
                <a:solidFill>
                  <a:schemeClr val="bg1"/>
                </a:solidFill>
                <a:latin typeface="Arial"/>
                <a:cs typeface="Arial"/>
              </a:rPr>
              <a:t>Near-Circuit Fidelity, Libraries for Radar, Aerospace, 5G/6G, and Wi-Fi, BT, GNSS, etc.</a:t>
            </a:r>
          </a:p>
        </p:txBody>
      </p:sp>
      <p:sp>
        <p:nvSpPr>
          <p:cNvPr id="3" name="Rectangle 2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EE8AE649-009A-D2FE-4A03-67B77A8D07AA}"/>
              </a:ext>
            </a:extLst>
          </p:cNvPr>
          <p:cNvSpPr/>
          <p:nvPr/>
        </p:nvSpPr>
        <p:spPr>
          <a:xfrm>
            <a:off x="1089329" y="5955527"/>
            <a:ext cx="278295" cy="485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Rectangle 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3CD3E509-9443-91D0-486C-F333C5C7D221}"/>
              </a:ext>
            </a:extLst>
          </p:cNvPr>
          <p:cNvSpPr/>
          <p:nvPr/>
        </p:nvSpPr>
        <p:spPr>
          <a:xfrm>
            <a:off x="1877834" y="5955527"/>
            <a:ext cx="278295" cy="485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tangl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A1063D37-5B59-945D-B255-D7C274531656}"/>
              </a:ext>
            </a:extLst>
          </p:cNvPr>
          <p:cNvSpPr/>
          <p:nvPr/>
        </p:nvSpPr>
        <p:spPr>
          <a:xfrm>
            <a:off x="1483581" y="5955527"/>
            <a:ext cx="278295" cy="485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Rectangle 8">
            <a:hlinkClick r:id="" action="ppaction://hlinkshowjump?jump=endshow"/>
            <a:extLst>
              <a:ext uri="{FF2B5EF4-FFF2-40B4-BE49-F238E27FC236}">
                <a16:creationId xmlns:a16="http://schemas.microsoft.com/office/drawing/2014/main" id="{55BC49D6-757C-6A42-7E08-8DE3DA3A3B88}"/>
              </a:ext>
            </a:extLst>
          </p:cNvPr>
          <p:cNvSpPr/>
          <p:nvPr/>
        </p:nvSpPr>
        <p:spPr>
          <a:xfrm>
            <a:off x="2272087" y="5955527"/>
            <a:ext cx="542675" cy="485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FFBE4E-561F-BCB5-542D-43AE27F46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8623" y="2686050"/>
            <a:ext cx="7620623" cy="382231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8DE37A8-26AF-4B6F-8FBE-24DBA01E19A2}"/>
              </a:ext>
            </a:extLst>
          </p:cNvPr>
          <p:cNvSpPr/>
          <p:nvPr/>
        </p:nvSpPr>
        <p:spPr>
          <a:xfrm>
            <a:off x="1053193" y="5932020"/>
            <a:ext cx="1959428" cy="45158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AB614AC-50F8-F81A-AE79-312413FF9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3792" y="156128"/>
            <a:ext cx="4481638" cy="2439790"/>
          </a:xfrm>
          <a:prstGeom prst="rect">
            <a:avLst/>
          </a:prstGeom>
        </p:spPr>
      </p:pic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28833658-85ED-C5CF-3323-EFF55FDAB2C6}"/>
              </a:ext>
            </a:extLst>
          </p:cNvPr>
          <p:cNvSpPr/>
          <p:nvPr/>
        </p:nvSpPr>
        <p:spPr>
          <a:xfrm>
            <a:off x="4931229" y="4229100"/>
            <a:ext cx="1146130" cy="616024"/>
          </a:xfrm>
          <a:prstGeom prst="wedgeRoundRectCallou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Physical System to be Replicated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94876E1A-2AB0-0D82-2284-84EBE59CB1E5}"/>
              </a:ext>
            </a:extLst>
          </p:cNvPr>
          <p:cNvSpPr/>
          <p:nvPr/>
        </p:nvSpPr>
        <p:spPr>
          <a:xfrm>
            <a:off x="9031221" y="4832358"/>
            <a:ext cx="1477086" cy="616024"/>
          </a:xfrm>
          <a:prstGeom prst="wedgeRoundRectCallou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RFPro Model of the Physical System</a:t>
            </a: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A6A9E5C8-3093-794A-8546-BFB6BF40EB40}"/>
              </a:ext>
            </a:extLst>
          </p:cNvPr>
          <p:cNvSpPr/>
          <p:nvPr/>
        </p:nvSpPr>
        <p:spPr>
          <a:xfrm>
            <a:off x="10628344" y="4694464"/>
            <a:ext cx="1477086" cy="520070"/>
          </a:xfrm>
          <a:prstGeom prst="wedgeRoundRectCallou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Phased Array Architecture</a:t>
            </a: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A246D5C4-22DB-B03A-3FFD-E0C3271CDD41}"/>
              </a:ext>
            </a:extLst>
          </p:cNvPr>
          <p:cNvSpPr/>
          <p:nvPr/>
        </p:nvSpPr>
        <p:spPr>
          <a:xfrm>
            <a:off x="5656876" y="2298390"/>
            <a:ext cx="1477086" cy="616024"/>
          </a:xfrm>
          <a:prstGeom prst="wedgeRoundRectCallou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Phased Array Model in SystemVue</a:t>
            </a:r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8EC57BA8-1E17-9631-ECAB-958C39A7401A}"/>
              </a:ext>
            </a:extLst>
          </p:cNvPr>
          <p:cNvSpPr/>
          <p:nvPr/>
        </p:nvSpPr>
        <p:spPr>
          <a:xfrm>
            <a:off x="5853793" y="328346"/>
            <a:ext cx="1757810" cy="851173"/>
          </a:xfrm>
          <a:prstGeom prst="wedgeRoundRectCallout">
            <a:avLst>
              <a:gd name="adj1" fmla="val 52780"/>
              <a:gd name="adj2" fmla="val -21907"/>
              <a:gd name="adj3" fmla="val 16667"/>
            </a:avLst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Measured and Simulated RF KPIs of the Phased Array Match Perfectly</a:t>
            </a:r>
          </a:p>
        </p:txBody>
      </p:sp>
    </p:spTree>
    <p:extLst>
      <p:ext uri="{BB962C8B-B14F-4D97-AF65-F5344CB8AC3E}">
        <p14:creationId xmlns:p14="http://schemas.microsoft.com/office/powerpoint/2010/main" val="85691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5D39B5-D3ED-759D-2933-CFF05F7BD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atellite Phased-Array Beam Optimiz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1C176D6-2A75-1595-16AE-8BC17564FB9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noProof="0" dirty="0"/>
              <a:t>Modeling Realistic RF Impairments and Active Impeda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3BAA3E-20F1-F16F-134E-37B83E4F41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417" y="1361366"/>
            <a:ext cx="8933090" cy="284755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759A876-9328-28A0-BAEA-18CA8736052B}"/>
              </a:ext>
            </a:extLst>
          </p:cNvPr>
          <p:cNvSpPr/>
          <p:nvPr/>
        </p:nvSpPr>
        <p:spPr>
          <a:xfrm>
            <a:off x="6037353" y="1524721"/>
            <a:ext cx="1641021" cy="1804307"/>
          </a:xfrm>
          <a:prstGeom prst="rect">
            <a:avLst/>
          </a:prstGeom>
          <a:noFill/>
          <a:ln w="28575">
            <a:solidFill>
              <a:srgbClr val="92D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71AE8-AA57-F617-72F5-04898E299375}"/>
              </a:ext>
            </a:extLst>
          </p:cNvPr>
          <p:cNvSpPr/>
          <p:nvPr/>
        </p:nvSpPr>
        <p:spPr>
          <a:xfrm>
            <a:off x="8255317" y="1524721"/>
            <a:ext cx="957943" cy="1804307"/>
          </a:xfrm>
          <a:prstGeom prst="rect">
            <a:avLst/>
          </a:prstGeom>
          <a:noFill/>
          <a:ln w="28575">
            <a:solidFill>
              <a:srgbClr val="92D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5065A1-0C92-6B52-FC08-C1EC8F0605B5}"/>
              </a:ext>
            </a:extLst>
          </p:cNvPr>
          <p:cNvCxnSpPr>
            <a:cxnSpLocks/>
          </p:cNvCxnSpPr>
          <p:nvPr/>
        </p:nvCxnSpPr>
        <p:spPr>
          <a:xfrm flipH="1">
            <a:off x="5276441" y="3329028"/>
            <a:ext cx="760912" cy="445932"/>
          </a:xfrm>
          <a:prstGeom prst="line">
            <a:avLst/>
          </a:prstGeom>
          <a:ln w="28575">
            <a:solidFill>
              <a:srgbClr val="92D05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02CC3C4-C31B-91C4-7BB4-4F10DD210D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594" y="3774960"/>
            <a:ext cx="2682282" cy="236458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14ABEF29-7274-7243-7A22-493D948F83F7}"/>
              </a:ext>
            </a:extLst>
          </p:cNvPr>
          <p:cNvGrpSpPr/>
          <p:nvPr/>
        </p:nvGrpSpPr>
        <p:grpSpPr>
          <a:xfrm>
            <a:off x="5368223" y="4073564"/>
            <a:ext cx="4854824" cy="2732381"/>
            <a:chOff x="5368223" y="4073564"/>
            <a:chExt cx="4854824" cy="273238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5166C1E-B255-3454-BC23-7F203F24E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38258" y="4073564"/>
              <a:ext cx="4584789" cy="2732381"/>
            </a:xfrm>
            <a:prstGeom prst="rect">
              <a:avLst/>
            </a:prstGeom>
          </p:spPr>
        </p:pic>
        <p:pic>
          <p:nvPicPr>
            <p:cNvPr id="13" name="Graphic 12" descr="Satellite outline">
              <a:extLst>
                <a:ext uri="{FF2B5EF4-FFF2-40B4-BE49-F238E27FC236}">
                  <a16:creationId xmlns:a16="http://schemas.microsoft.com/office/drawing/2014/main" id="{69DE118F-E3F4-F1AD-E876-B3F3A4A49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540254">
              <a:off x="5388761" y="4213845"/>
              <a:ext cx="498994" cy="540069"/>
            </a:xfrm>
            <a:prstGeom prst="rect">
              <a:avLst/>
            </a:prstGeom>
          </p:spPr>
        </p:pic>
        <p:pic>
          <p:nvPicPr>
            <p:cNvPr id="14" name="Graphic 13" descr="Satellite outline">
              <a:extLst>
                <a:ext uri="{FF2B5EF4-FFF2-40B4-BE49-F238E27FC236}">
                  <a16:creationId xmlns:a16="http://schemas.microsoft.com/office/drawing/2014/main" id="{F9152D16-4623-3EE4-9458-9974094C0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540254">
              <a:off x="7470109" y="4237704"/>
              <a:ext cx="498994" cy="540069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6C9AEAB-F55B-4422-FA77-26428666E99A}"/>
              </a:ext>
            </a:extLst>
          </p:cNvPr>
          <p:cNvSpPr txBox="1"/>
          <p:nvPr/>
        </p:nvSpPr>
        <p:spPr>
          <a:xfrm>
            <a:off x="1442494" y="3651850"/>
            <a:ext cx="3833947" cy="1169551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txBody>
          <a:bodyPr wrap="square" lIns="91440" tIns="91440" rIns="91440" bIns="91440" rtlCol="0" anchor="ctr" anchorCtr="1">
            <a:spAutoFit/>
          </a:bodyPr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Aptos" panose="020B0004020202020204" pitchFamily="34" charset="0"/>
              </a:rPr>
              <a:t>Dynamic Complex Weights and Delay Optimization to Achieve Target Beam Shape, EIRP Maximization and Sidelobe Minimization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D49989-E990-B395-FDE5-3219B6A56D13}"/>
              </a:ext>
            </a:extLst>
          </p:cNvPr>
          <p:cNvSpPr txBox="1"/>
          <p:nvPr/>
        </p:nvSpPr>
        <p:spPr>
          <a:xfrm>
            <a:off x="1504134" y="2785142"/>
            <a:ext cx="9183732" cy="92333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wrap="square" lIns="91440" tIns="91440" rIns="91440" bIns="91440" rtlCol="0" anchor="ctr" anchorCtr="1">
            <a:spAutoFit/>
          </a:bodyPr>
          <a:lstStyle/>
          <a:p>
            <a:pPr algn="ctr"/>
            <a:r>
              <a:rPr lang="en-US" sz="2400" b="1" noProof="0" dirty="0">
                <a:solidFill>
                  <a:schemeClr val="bg1"/>
                </a:solidFill>
                <a:latin typeface="Aptos" panose="020B0004020202020204" pitchFamily="34" charset="0"/>
              </a:rPr>
              <a:t>SystemVue Models RF Impairments of the Transceiver and Active Impedance while Optimizing the Phased Array KPIs.</a:t>
            </a:r>
          </a:p>
        </p:txBody>
      </p:sp>
    </p:spTree>
    <p:extLst>
      <p:ext uri="{BB962C8B-B14F-4D97-AF65-F5344CB8AC3E}">
        <p14:creationId xmlns:p14="http://schemas.microsoft.com/office/powerpoint/2010/main" val="163194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AD72D-33F3-D35F-43FD-BCAE49A12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01AACE-1CBE-BA0F-9221-45E5E46AA7A4}"/>
              </a:ext>
            </a:extLst>
          </p:cNvPr>
          <p:cNvSpPr/>
          <p:nvPr/>
        </p:nvSpPr>
        <p:spPr>
          <a:xfrm>
            <a:off x="360928" y="3954159"/>
            <a:ext cx="1286718" cy="5089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/>
              <a:t>Gateway Baseband Signal Process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7D55D1-EAAE-AA66-4D98-83BC833FE37F}"/>
              </a:ext>
            </a:extLst>
          </p:cNvPr>
          <p:cNvSpPr/>
          <p:nvPr/>
        </p:nvSpPr>
        <p:spPr>
          <a:xfrm>
            <a:off x="2041585" y="3954159"/>
            <a:ext cx="1147313" cy="5089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/>
              <a:t>Gateway TX RF Processing</a:t>
            </a:r>
          </a:p>
        </p:txBody>
      </p:sp>
      <p:pic>
        <p:nvPicPr>
          <p:cNvPr id="6" name="Graphic 5" descr="Satellite dish outline">
            <a:extLst>
              <a:ext uri="{FF2B5EF4-FFF2-40B4-BE49-F238E27FC236}">
                <a16:creationId xmlns:a16="http://schemas.microsoft.com/office/drawing/2014/main" id="{8507DE7A-B802-4D54-5E3D-636F105C73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2838" y="3803248"/>
            <a:ext cx="749116" cy="810780"/>
          </a:xfrm>
          <a:prstGeom prst="rect">
            <a:avLst/>
          </a:prstGeom>
        </p:spPr>
      </p:pic>
      <p:pic>
        <p:nvPicPr>
          <p:cNvPr id="7" name="Graphic 6" descr="Satellite outline">
            <a:extLst>
              <a:ext uri="{FF2B5EF4-FFF2-40B4-BE49-F238E27FC236}">
                <a16:creationId xmlns:a16="http://schemas.microsoft.com/office/drawing/2014/main" id="{E063A234-851B-44DF-1011-29850E8979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98164" y="1435316"/>
            <a:ext cx="749116" cy="810780"/>
          </a:xfrm>
          <a:prstGeom prst="rect">
            <a:avLst/>
          </a:prstGeom>
        </p:spPr>
      </p:pic>
      <p:pic>
        <p:nvPicPr>
          <p:cNvPr id="8" name="Graphic 7" descr="Smart Phone outline">
            <a:extLst>
              <a:ext uri="{FF2B5EF4-FFF2-40B4-BE49-F238E27FC236}">
                <a16:creationId xmlns:a16="http://schemas.microsoft.com/office/drawing/2014/main" id="{4DECB82D-887A-EE19-27D6-448DF90FD5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4885" y="3949794"/>
            <a:ext cx="548538" cy="575489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6EA0275-BF78-D769-C2E1-57933DB73169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1647646" y="4208638"/>
            <a:ext cx="39393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B02D6C3-8FFC-2674-1813-36CDB0D9A06B}"/>
              </a:ext>
            </a:extLst>
          </p:cNvPr>
          <p:cNvCxnSpPr>
            <a:stCxn id="5" idx="3"/>
          </p:cNvCxnSpPr>
          <p:nvPr/>
        </p:nvCxnSpPr>
        <p:spPr>
          <a:xfrm>
            <a:off x="3188898" y="4208638"/>
            <a:ext cx="5463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9AC8F5F-1BD5-DB1C-D387-61BA92D0EBB7}"/>
              </a:ext>
            </a:extLst>
          </p:cNvPr>
          <p:cNvCxnSpPr>
            <a:cxnSpLocks/>
          </p:cNvCxnSpPr>
          <p:nvPr/>
        </p:nvCxnSpPr>
        <p:spPr>
          <a:xfrm flipV="1">
            <a:off x="4331954" y="2246096"/>
            <a:ext cx="1366210" cy="16747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E77B410-E36B-64DE-65E1-5BB223398262}"/>
              </a:ext>
            </a:extLst>
          </p:cNvPr>
          <p:cNvCxnSpPr/>
          <p:nvPr/>
        </p:nvCxnSpPr>
        <p:spPr>
          <a:xfrm>
            <a:off x="6447280" y="2246096"/>
            <a:ext cx="2139350" cy="18688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A52B074F-6D88-C117-88B8-645B42A6D694}"/>
              </a:ext>
            </a:extLst>
          </p:cNvPr>
          <p:cNvSpPr/>
          <p:nvPr/>
        </p:nvSpPr>
        <p:spPr>
          <a:xfrm>
            <a:off x="10689021" y="4642928"/>
            <a:ext cx="1147313" cy="5089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/>
              <a:t>UE Baseband Signal Process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90676FD-C8E3-8182-C5DB-D6A6E5AFE09B}"/>
              </a:ext>
            </a:extLst>
          </p:cNvPr>
          <p:cNvSpPr/>
          <p:nvPr/>
        </p:nvSpPr>
        <p:spPr>
          <a:xfrm>
            <a:off x="9144885" y="4642928"/>
            <a:ext cx="1147313" cy="5089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/>
              <a:t>UE RX RF Processing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EEB8A7C-CCD8-9467-9443-6A507089B7AD}"/>
              </a:ext>
            </a:extLst>
          </p:cNvPr>
          <p:cNvCxnSpPr>
            <a:cxnSpLocks/>
          </p:cNvCxnSpPr>
          <p:nvPr/>
        </p:nvCxnSpPr>
        <p:spPr>
          <a:xfrm>
            <a:off x="8750945" y="4897407"/>
            <a:ext cx="3939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7DA557D-79B2-A1B8-9581-8102C7BA95E8}"/>
              </a:ext>
            </a:extLst>
          </p:cNvPr>
          <p:cNvCxnSpPr>
            <a:cxnSpLocks/>
          </p:cNvCxnSpPr>
          <p:nvPr/>
        </p:nvCxnSpPr>
        <p:spPr>
          <a:xfrm>
            <a:off x="10292198" y="4897407"/>
            <a:ext cx="39682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E564807-AF23-2DB6-D359-3A24A1FDC361}"/>
              </a:ext>
            </a:extLst>
          </p:cNvPr>
          <p:cNvCxnSpPr/>
          <p:nvPr/>
        </p:nvCxnSpPr>
        <p:spPr>
          <a:xfrm flipV="1">
            <a:off x="8750945" y="4525283"/>
            <a:ext cx="0" cy="37212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3AEE50A-BD99-7071-822C-0F1F839CB568}"/>
              </a:ext>
            </a:extLst>
          </p:cNvPr>
          <p:cNvCxnSpPr/>
          <p:nvPr/>
        </p:nvCxnSpPr>
        <p:spPr>
          <a:xfrm flipH="1" flipV="1">
            <a:off x="8586630" y="4302236"/>
            <a:ext cx="164315" cy="22304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93D516F-BF02-43D4-8A09-246BBA4A2636}"/>
              </a:ext>
            </a:extLst>
          </p:cNvPr>
          <p:cNvCxnSpPr>
            <a:cxnSpLocks/>
          </p:cNvCxnSpPr>
          <p:nvPr/>
        </p:nvCxnSpPr>
        <p:spPr>
          <a:xfrm flipV="1">
            <a:off x="8750945" y="4297303"/>
            <a:ext cx="164315" cy="22304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Callout: Line 45">
            <a:extLst>
              <a:ext uri="{FF2B5EF4-FFF2-40B4-BE49-F238E27FC236}">
                <a16:creationId xmlns:a16="http://schemas.microsoft.com/office/drawing/2014/main" id="{665DECAF-E9D5-1847-5EC9-B7FDC2096CA8}"/>
              </a:ext>
            </a:extLst>
          </p:cNvPr>
          <p:cNvSpPr/>
          <p:nvPr/>
        </p:nvSpPr>
        <p:spPr>
          <a:xfrm>
            <a:off x="180464" y="5002267"/>
            <a:ext cx="1647646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bg2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Baseband Signal Parameters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Modulation and Coding</a:t>
            </a:r>
          </a:p>
        </p:txBody>
      </p:sp>
      <p:sp>
        <p:nvSpPr>
          <p:cNvPr id="47" name="Callout: Line 46">
            <a:extLst>
              <a:ext uri="{FF2B5EF4-FFF2-40B4-BE49-F238E27FC236}">
                <a16:creationId xmlns:a16="http://schemas.microsoft.com/office/drawing/2014/main" id="{D01385D9-A59D-BF06-C8D3-A24ECD6A13FB}"/>
              </a:ext>
            </a:extLst>
          </p:cNvPr>
          <p:cNvSpPr/>
          <p:nvPr/>
        </p:nvSpPr>
        <p:spPr>
          <a:xfrm>
            <a:off x="1647646" y="5562351"/>
            <a:ext cx="2223541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noProof="0" dirty="0">
                <a:solidFill>
                  <a:schemeClr val="tx1"/>
                </a:solidFill>
              </a:rPr>
              <a:t>GATEWAY Transmitter 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I/Q LPF </a:t>
            </a:r>
            <a:r>
              <a:rPr lang="en-US" sz="900" noProof="0" dirty="0">
                <a:solidFill>
                  <a:schemeClr val="tx1"/>
                </a:solidFill>
                <a:sym typeface="Wingdings" panose="05000000000000000000" pitchFamily="2" charset="2"/>
              </a:rPr>
              <a:t> Mixers  BPF  VGA/PA  TX BPF  Circulator  Antenna </a:t>
            </a:r>
          </a:p>
        </p:txBody>
      </p:sp>
      <p:sp>
        <p:nvSpPr>
          <p:cNvPr id="48" name="Callout: Line 47">
            <a:extLst>
              <a:ext uri="{FF2B5EF4-FFF2-40B4-BE49-F238E27FC236}">
                <a16:creationId xmlns:a16="http://schemas.microsoft.com/office/drawing/2014/main" id="{222BAB7A-1FB1-1550-A46A-611C06658C1A}"/>
              </a:ext>
            </a:extLst>
          </p:cNvPr>
          <p:cNvSpPr/>
          <p:nvPr/>
        </p:nvSpPr>
        <p:spPr>
          <a:xfrm>
            <a:off x="3102549" y="4781911"/>
            <a:ext cx="2444543" cy="584969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bg2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noProof="0" dirty="0">
                <a:solidFill>
                  <a:schemeClr val="tx1"/>
                </a:solidFill>
              </a:rPr>
              <a:t>TX Antenna Parameters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TX Gain, EIRP, Phase Error, Beam Misalignment, Output Power, Antenna Efficiency, Cable Loss, etc.</a:t>
            </a:r>
          </a:p>
        </p:txBody>
      </p:sp>
      <p:sp>
        <p:nvSpPr>
          <p:cNvPr id="49" name="Callout: Line 48">
            <a:extLst>
              <a:ext uri="{FF2B5EF4-FFF2-40B4-BE49-F238E27FC236}">
                <a16:creationId xmlns:a16="http://schemas.microsoft.com/office/drawing/2014/main" id="{2EB34374-1495-6A4C-B3ED-EBF1D6EF61BA}"/>
              </a:ext>
            </a:extLst>
          </p:cNvPr>
          <p:cNvSpPr/>
          <p:nvPr/>
        </p:nvSpPr>
        <p:spPr>
          <a:xfrm>
            <a:off x="7597079" y="5467377"/>
            <a:ext cx="2223540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bg2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noProof="0" dirty="0">
                <a:solidFill>
                  <a:schemeClr val="tx1"/>
                </a:solidFill>
              </a:rPr>
              <a:t>RX Antenna Parameters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RX Gain, RX G/T, EIS, Efficiency, etc.</a:t>
            </a:r>
          </a:p>
        </p:txBody>
      </p:sp>
      <p:sp>
        <p:nvSpPr>
          <p:cNvPr id="50" name="Callout: Line 49">
            <a:extLst>
              <a:ext uri="{FF2B5EF4-FFF2-40B4-BE49-F238E27FC236}">
                <a16:creationId xmlns:a16="http://schemas.microsoft.com/office/drawing/2014/main" id="{59420D08-222E-1E19-99D1-4EB44A348AB9}"/>
              </a:ext>
            </a:extLst>
          </p:cNvPr>
          <p:cNvSpPr/>
          <p:nvPr/>
        </p:nvSpPr>
        <p:spPr>
          <a:xfrm>
            <a:off x="9014754" y="6173554"/>
            <a:ext cx="1981884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noProof="0" dirty="0">
                <a:solidFill>
                  <a:schemeClr val="tx1"/>
                </a:solidFill>
              </a:rPr>
              <a:t>UE RECEIVER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Antenna </a:t>
            </a:r>
            <a:r>
              <a:rPr lang="en-US" sz="900" noProof="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900" noProof="0" dirty="0">
                <a:solidFill>
                  <a:schemeClr val="tx1"/>
                </a:solidFill>
              </a:rPr>
              <a:t>Circulator </a:t>
            </a:r>
            <a:r>
              <a:rPr lang="en-US" sz="900" noProof="0" dirty="0">
                <a:solidFill>
                  <a:schemeClr val="tx1"/>
                </a:solidFill>
                <a:sym typeface="Wingdings" panose="05000000000000000000" pitchFamily="2" charset="2"/>
              </a:rPr>
              <a:t> RX BPF  LNA  Mixers  I/Q LPFs</a:t>
            </a:r>
            <a:endParaRPr lang="en-US" sz="900" noProof="0" dirty="0">
              <a:solidFill>
                <a:schemeClr val="tx1"/>
              </a:solidFill>
            </a:endParaRPr>
          </a:p>
        </p:txBody>
      </p:sp>
      <p:sp>
        <p:nvSpPr>
          <p:cNvPr id="51" name="Callout: Line 50">
            <a:extLst>
              <a:ext uri="{FF2B5EF4-FFF2-40B4-BE49-F238E27FC236}">
                <a16:creationId xmlns:a16="http://schemas.microsoft.com/office/drawing/2014/main" id="{9902FEDB-5FDE-BFA7-6BBF-578A2A2026FA}"/>
              </a:ext>
            </a:extLst>
          </p:cNvPr>
          <p:cNvSpPr/>
          <p:nvPr/>
        </p:nvSpPr>
        <p:spPr>
          <a:xfrm>
            <a:off x="4631002" y="3651543"/>
            <a:ext cx="1647646" cy="508958"/>
          </a:xfrm>
          <a:prstGeom prst="borderCallout1">
            <a:avLst>
              <a:gd name="adj1" fmla="val -1589"/>
              <a:gd name="adj2" fmla="val 49782"/>
              <a:gd name="adj3" fmla="val -107566"/>
              <a:gd name="adj4" fmla="val 23858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Feeder Link Propagation Parameters and Losses</a:t>
            </a:r>
          </a:p>
        </p:txBody>
      </p:sp>
      <p:sp>
        <p:nvSpPr>
          <p:cNvPr id="52" name="Callout: Line 51">
            <a:extLst>
              <a:ext uri="{FF2B5EF4-FFF2-40B4-BE49-F238E27FC236}">
                <a16:creationId xmlns:a16="http://schemas.microsoft.com/office/drawing/2014/main" id="{3A0ED149-FDA9-425B-3ACD-E86FACB7034B}"/>
              </a:ext>
            </a:extLst>
          </p:cNvPr>
          <p:cNvSpPr/>
          <p:nvPr/>
        </p:nvSpPr>
        <p:spPr>
          <a:xfrm>
            <a:off x="6548879" y="3932563"/>
            <a:ext cx="1647646" cy="508958"/>
          </a:xfrm>
          <a:prstGeom prst="borderCallout1">
            <a:avLst>
              <a:gd name="adj1" fmla="val -1589"/>
              <a:gd name="adj2" fmla="val 49782"/>
              <a:gd name="adj3" fmla="val -104358"/>
              <a:gd name="adj4" fmla="val 73905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Service Link Propagation Parameters and Loss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98C6369-B9F3-33FB-C542-52EBB5CB540D}"/>
              </a:ext>
            </a:extLst>
          </p:cNvPr>
          <p:cNvSpPr/>
          <p:nvPr/>
        </p:nvSpPr>
        <p:spPr>
          <a:xfrm>
            <a:off x="4597991" y="964638"/>
            <a:ext cx="1286718" cy="5089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/>
              <a:t>Payload RF Processing at F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CD0E041-4D64-C533-3C7B-12283F282014}"/>
              </a:ext>
            </a:extLst>
          </p:cNvPr>
          <p:cNvSpPr/>
          <p:nvPr/>
        </p:nvSpPr>
        <p:spPr>
          <a:xfrm>
            <a:off x="6278648" y="964638"/>
            <a:ext cx="1268805" cy="5089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/>
              <a:t>Payload RF Processing at F2</a:t>
            </a:r>
          </a:p>
        </p:txBody>
      </p:sp>
      <p:pic>
        <p:nvPicPr>
          <p:cNvPr id="55" name="Graphic 54" descr="Satellite dish outline">
            <a:extLst>
              <a:ext uri="{FF2B5EF4-FFF2-40B4-BE49-F238E27FC236}">
                <a16:creationId xmlns:a16="http://schemas.microsoft.com/office/drawing/2014/main" id="{E2236B6D-099A-F501-8C4F-68DF0A4C80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19901" y="813727"/>
            <a:ext cx="749116" cy="810780"/>
          </a:xfrm>
          <a:prstGeom prst="rect">
            <a:avLst/>
          </a:prstGeom>
        </p:spPr>
      </p:pic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F9A80D4F-29FB-84D4-2547-E1D78123F864}"/>
              </a:ext>
            </a:extLst>
          </p:cNvPr>
          <p:cNvCxnSpPr>
            <a:cxnSpLocks/>
            <a:stCxn id="53" idx="3"/>
            <a:endCxn id="54" idx="1"/>
          </p:cNvCxnSpPr>
          <p:nvPr/>
        </p:nvCxnSpPr>
        <p:spPr>
          <a:xfrm>
            <a:off x="5884709" y="1219117"/>
            <a:ext cx="39393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C4BB9E26-A93E-8B7B-C6E6-DF2B7A702273}"/>
              </a:ext>
            </a:extLst>
          </p:cNvPr>
          <p:cNvCxnSpPr>
            <a:cxnSpLocks/>
            <a:stCxn id="54" idx="3"/>
          </p:cNvCxnSpPr>
          <p:nvPr/>
        </p:nvCxnSpPr>
        <p:spPr>
          <a:xfrm>
            <a:off x="7547453" y="1219117"/>
            <a:ext cx="42484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8" name="Graphic 57" descr="Satellite dish outline">
            <a:extLst>
              <a:ext uri="{FF2B5EF4-FFF2-40B4-BE49-F238E27FC236}">
                <a16:creationId xmlns:a16="http://schemas.microsoft.com/office/drawing/2014/main" id="{32409E52-1307-C4CC-A1D7-8B8E7DE64B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3450678" y="813727"/>
            <a:ext cx="749116" cy="810780"/>
          </a:xfrm>
          <a:prstGeom prst="rect">
            <a:avLst/>
          </a:prstGeom>
        </p:spPr>
      </p:pic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44983A6-0FDB-1E9E-5472-FD03C6A359F3}"/>
              </a:ext>
            </a:extLst>
          </p:cNvPr>
          <p:cNvCxnSpPr/>
          <p:nvPr/>
        </p:nvCxnSpPr>
        <p:spPr>
          <a:xfrm>
            <a:off x="4051651" y="1215773"/>
            <a:ext cx="5463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Callout: Line 59">
            <a:extLst>
              <a:ext uri="{FF2B5EF4-FFF2-40B4-BE49-F238E27FC236}">
                <a16:creationId xmlns:a16="http://schemas.microsoft.com/office/drawing/2014/main" id="{DCA6CA72-2B40-DDCC-6C02-190898185F94}"/>
              </a:ext>
            </a:extLst>
          </p:cNvPr>
          <p:cNvSpPr/>
          <p:nvPr/>
        </p:nvSpPr>
        <p:spPr>
          <a:xfrm>
            <a:off x="2985162" y="2260034"/>
            <a:ext cx="2052201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bg2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Payload RX Antenna Parameters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Gain, RX G/T, EIS, Efficiency, etc.</a:t>
            </a:r>
          </a:p>
        </p:txBody>
      </p:sp>
      <p:sp>
        <p:nvSpPr>
          <p:cNvPr id="61" name="Callout: Line 60">
            <a:extLst>
              <a:ext uri="{FF2B5EF4-FFF2-40B4-BE49-F238E27FC236}">
                <a16:creationId xmlns:a16="http://schemas.microsoft.com/office/drawing/2014/main" id="{572F83A8-3E5A-8757-1E33-01126A39A372}"/>
              </a:ext>
            </a:extLst>
          </p:cNvPr>
          <p:cNvSpPr/>
          <p:nvPr/>
        </p:nvSpPr>
        <p:spPr>
          <a:xfrm>
            <a:off x="7332453" y="1926597"/>
            <a:ext cx="1874384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bg2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Payload TX Antenna Parameters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Gain, EIRP, Beam Misalignment, Output Power, Efficiency, etc.</a:t>
            </a:r>
          </a:p>
        </p:txBody>
      </p:sp>
      <p:sp>
        <p:nvSpPr>
          <p:cNvPr id="62" name="Callout: Line 61">
            <a:extLst>
              <a:ext uri="{FF2B5EF4-FFF2-40B4-BE49-F238E27FC236}">
                <a16:creationId xmlns:a16="http://schemas.microsoft.com/office/drawing/2014/main" id="{78FB0DDA-139D-DA0D-9D25-B1F3584DF3D4}"/>
              </a:ext>
            </a:extLst>
          </p:cNvPr>
          <p:cNvSpPr/>
          <p:nvPr/>
        </p:nvSpPr>
        <p:spPr>
          <a:xfrm>
            <a:off x="10156371" y="5504035"/>
            <a:ext cx="1981884" cy="508958"/>
          </a:xfrm>
          <a:prstGeom prst="borderCallout1">
            <a:avLst>
              <a:gd name="adj1" fmla="val -1589"/>
              <a:gd name="adj2" fmla="val 49782"/>
              <a:gd name="adj3" fmla="val -102754"/>
              <a:gd name="adj4" fmla="val 49625"/>
            </a:avLst>
          </a:prstGeom>
          <a:solidFill>
            <a:schemeClr val="bg2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Baseband Signal Parameters + SINR, Repetition, CNR, CIR Calculation 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6AD37E7D-CBC3-04C7-DAF5-1A984BEF15EA}"/>
              </a:ext>
            </a:extLst>
          </p:cNvPr>
          <p:cNvSpPr/>
          <p:nvPr/>
        </p:nvSpPr>
        <p:spPr>
          <a:xfrm>
            <a:off x="5642356" y="124959"/>
            <a:ext cx="2949462" cy="508958"/>
          </a:xfrm>
          <a:prstGeom prst="borderCallout1">
            <a:avLst>
              <a:gd name="adj1" fmla="val 100092"/>
              <a:gd name="adj2" fmla="val 49546"/>
              <a:gd name="adj3" fmla="val 170540"/>
              <a:gd name="adj4" fmla="val 16449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noProof="0" dirty="0">
                <a:solidFill>
                  <a:schemeClr val="tx1"/>
                </a:solidFill>
              </a:rPr>
              <a:t>PAYLOAD TRANSCEIVER</a:t>
            </a:r>
          </a:p>
          <a:p>
            <a:pPr algn="ctr"/>
            <a:r>
              <a:rPr lang="en-US" sz="900" noProof="0" dirty="0">
                <a:solidFill>
                  <a:schemeClr val="tx1"/>
                </a:solidFill>
              </a:rPr>
              <a:t>Antenna </a:t>
            </a:r>
            <a:r>
              <a:rPr lang="en-US" sz="900" noProof="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900" noProof="0" dirty="0">
                <a:solidFill>
                  <a:schemeClr val="tx1"/>
                </a:solidFill>
              </a:rPr>
              <a:t>Circulator </a:t>
            </a:r>
            <a:r>
              <a:rPr lang="en-US" sz="900" noProof="0" dirty="0">
                <a:solidFill>
                  <a:schemeClr val="tx1"/>
                </a:solidFill>
                <a:sym typeface="Wingdings" panose="05000000000000000000" pitchFamily="2" charset="2"/>
              </a:rPr>
              <a:t> RX BPF  LNA  Mixers  BPF  VGA/PA  TX BPF  Circulator  Antenna</a:t>
            </a:r>
            <a:endParaRPr lang="en-US" sz="900" noProof="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005618-90A1-AD36-5C0D-CA855240E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/>
          <a:lstStyle/>
          <a:p>
            <a:r>
              <a:rPr lang="en-US" noProof="0" dirty="0"/>
              <a:t>NTN System Mode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A9C02AC-336C-81AE-A70A-E81F1E2FBDE3}"/>
              </a:ext>
            </a:extLst>
          </p:cNvPr>
          <p:cNvGrpSpPr/>
          <p:nvPr/>
        </p:nvGrpSpPr>
        <p:grpSpPr>
          <a:xfrm>
            <a:off x="3823002" y="3243154"/>
            <a:ext cx="972960" cy="810781"/>
            <a:chOff x="3004770" y="18122"/>
            <a:chExt cx="3465361" cy="3840480"/>
          </a:xfrm>
        </p:grpSpPr>
        <p:pic>
          <p:nvPicPr>
            <p:cNvPr id="10" name="Picture 9" descr="A diagram of a circular object with arrows pointing to the center&#10;&#10;AI-generated content may be incorrect.">
              <a:extLst>
                <a:ext uri="{FF2B5EF4-FFF2-40B4-BE49-F238E27FC236}">
                  <a16:creationId xmlns:a16="http://schemas.microsoft.com/office/drawing/2014/main" id="{8CD8EC90-5A22-8D56-4480-66E5E6757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0"/>
                </a:ext>
              </a:extLst>
            </a:blip>
            <a:srcRect l="50001" t="36674" r="5793" b="34190"/>
            <a:stretch/>
          </p:blipFill>
          <p:spPr>
            <a:xfrm rot="18835791">
              <a:off x="3284225" y="672695"/>
              <a:ext cx="3840480" cy="253133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9C200E9-BAD4-AE9C-7241-A765E0792369}"/>
                </a:ext>
              </a:extLst>
            </p:cNvPr>
            <p:cNvSpPr/>
            <p:nvPr/>
          </p:nvSpPr>
          <p:spPr>
            <a:xfrm rot="17941320">
              <a:off x="4562982" y="316236"/>
              <a:ext cx="312120" cy="675413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7D2D3FB-A15C-138A-1865-F2AC3BF1D332}"/>
                </a:ext>
              </a:extLst>
            </p:cNvPr>
            <p:cNvSpPr/>
            <p:nvPr/>
          </p:nvSpPr>
          <p:spPr>
            <a:xfrm rot="19305271">
              <a:off x="3004770" y="2152932"/>
              <a:ext cx="361395" cy="2323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78A50F9-720F-4CBF-1752-AFF6D0CF819B}"/>
              </a:ext>
            </a:extLst>
          </p:cNvPr>
          <p:cNvGrpSpPr/>
          <p:nvPr/>
        </p:nvGrpSpPr>
        <p:grpSpPr>
          <a:xfrm rot="10577845">
            <a:off x="5144063" y="2000759"/>
            <a:ext cx="972960" cy="810781"/>
            <a:chOff x="3004770" y="18122"/>
            <a:chExt cx="3465361" cy="3840480"/>
          </a:xfrm>
        </p:grpSpPr>
        <p:pic>
          <p:nvPicPr>
            <p:cNvPr id="18" name="Picture 17" descr="A diagram of a circular object with arrows pointing to the center&#10;&#10;AI-generated content may be incorrect.">
              <a:extLst>
                <a:ext uri="{FF2B5EF4-FFF2-40B4-BE49-F238E27FC236}">
                  <a16:creationId xmlns:a16="http://schemas.microsoft.com/office/drawing/2014/main" id="{469458B6-9AB5-F72B-C102-2D2E2DD09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0"/>
                </a:ext>
              </a:extLst>
            </a:blip>
            <a:srcRect l="50001" t="36674" r="5793" b="34190"/>
            <a:stretch/>
          </p:blipFill>
          <p:spPr>
            <a:xfrm rot="18835791">
              <a:off x="3284225" y="672695"/>
              <a:ext cx="3840480" cy="2531333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C5730BC-5281-4972-235E-C072D25BE7A5}"/>
                </a:ext>
              </a:extLst>
            </p:cNvPr>
            <p:cNvSpPr/>
            <p:nvPr/>
          </p:nvSpPr>
          <p:spPr>
            <a:xfrm rot="17941320">
              <a:off x="4562982" y="316236"/>
              <a:ext cx="312120" cy="675413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BC0CA79-3E4D-38D1-C0D8-282DA06C7396}"/>
                </a:ext>
              </a:extLst>
            </p:cNvPr>
            <p:cNvSpPr/>
            <p:nvPr/>
          </p:nvSpPr>
          <p:spPr>
            <a:xfrm rot="19305271">
              <a:off x="3004770" y="2152932"/>
              <a:ext cx="361395" cy="2323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3B2B59D-7D05-AF73-FD16-EFD8FBEFB55E}"/>
              </a:ext>
            </a:extLst>
          </p:cNvPr>
          <p:cNvGrpSpPr/>
          <p:nvPr/>
        </p:nvGrpSpPr>
        <p:grpSpPr>
          <a:xfrm rot="5400000">
            <a:off x="6253807" y="1977042"/>
            <a:ext cx="972960" cy="810781"/>
            <a:chOff x="3004770" y="18122"/>
            <a:chExt cx="3465361" cy="3840480"/>
          </a:xfrm>
        </p:grpSpPr>
        <p:pic>
          <p:nvPicPr>
            <p:cNvPr id="22" name="Picture 21" descr="A diagram of a circular object with arrows pointing to the center&#10;&#10;AI-generated content may be incorrect.">
              <a:extLst>
                <a:ext uri="{FF2B5EF4-FFF2-40B4-BE49-F238E27FC236}">
                  <a16:creationId xmlns:a16="http://schemas.microsoft.com/office/drawing/2014/main" id="{F2F341C0-3D1C-0362-57D5-BA7259C04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0"/>
                </a:ext>
              </a:extLst>
            </a:blip>
            <a:srcRect l="50001" t="36674" r="5793" b="34190"/>
            <a:stretch/>
          </p:blipFill>
          <p:spPr>
            <a:xfrm rot="18835791">
              <a:off x="3284225" y="672695"/>
              <a:ext cx="3840480" cy="2531333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130E284-A594-CC83-D651-51EF2C5D69D4}"/>
                </a:ext>
              </a:extLst>
            </p:cNvPr>
            <p:cNvSpPr/>
            <p:nvPr/>
          </p:nvSpPr>
          <p:spPr>
            <a:xfrm rot="17941320">
              <a:off x="4562982" y="316236"/>
              <a:ext cx="312120" cy="675413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21C1F4D-39A9-687D-3083-C9B0226B2414}"/>
                </a:ext>
              </a:extLst>
            </p:cNvPr>
            <p:cNvSpPr/>
            <p:nvPr/>
          </p:nvSpPr>
          <p:spPr>
            <a:xfrm rot="19305271">
              <a:off x="3004770" y="2152932"/>
              <a:ext cx="361395" cy="2323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pic>
        <p:nvPicPr>
          <p:cNvPr id="26" name="Picture 25" descr="A diagram of a circular object with arrows pointing to the center&#10;&#10;AI-generated content may be incorrect.">
            <a:extLst>
              <a:ext uri="{FF2B5EF4-FFF2-40B4-BE49-F238E27FC236}">
                <a16:creationId xmlns:a16="http://schemas.microsoft.com/office/drawing/2014/main" id="{5F4E1502-AE8C-CC6C-7D61-B650B16584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rcRect l="50001" t="36674" r="5793" b="34190"/>
          <a:stretch/>
        </p:blipFill>
        <p:spPr>
          <a:xfrm rot="13087531">
            <a:off x="8500651" y="3819623"/>
            <a:ext cx="214133" cy="53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5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8B8D9D-1417-C189-9AEE-C5FBBE019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AFD48F7-C144-D801-0C13-E6350B003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NTN System Modeling in SystemVu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473A25-7B7B-6A2D-25D3-538F57F591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520" y="1196657"/>
            <a:ext cx="9966960" cy="514257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3BF40DE-013E-D164-891C-A932ECDBDD16}"/>
              </a:ext>
            </a:extLst>
          </p:cNvPr>
          <p:cNvSpPr/>
          <p:nvPr/>
        </p:nvSpPr>
        <p:spPr>
          <a:xfrm>
            <a:off x="2300066" y="4113672"/>
            <a:ext cx="1270968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E0C2732-DC9B-8FB1-5A60-E206AE9CBBF3}"/>
              </a:ext>
            </a:extLst>
          </p:cNvPr>
          <p:cNvSpPr/>
          <p:nvPr/>
        </p:nvSpPr>
        <p:spPr>
          <a:xfrm>
            <a:off x="4106496" y="4062929"/>
            <a:ext cx="359855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763B7A-20AF-0B74-7238-28EB5AADBE3A}"/>
              </a:ext>
            </a:extLst>
          </p:cNvPr>
          <p:cNvSpPr/>
          <p:nvPr/>
        </p:nvSpPr>
        <p:spPr>
          <a:xfrm>
            <a:off x="5036998" y="3812247"/>
            <a:ext cx="359855" cy="89629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E7DBD1-B701-FF88-5C59-23DD080A81C8}"/>
              </a:ext>
            </a:extLst>
          </p:cNvPr>
          <p:cNvSpPr/>
          <p:nvPr/>
        </p:nvSpPr>
        <p:spPr>
          <a:xfrm>
            <a:off x="1756908" y="4105254"/>
            <a:ext cx="359855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B564D7-2FD6-D05A-08CA-CF0BB366A67F}"/>
              </a:ext>
            </a:extLst>
          </p:cNvPr>
          <p:cNvSpPr/>
          <p:nvPr/>
        </p:nvSpPr>
        <p:spPr>
          <a:xfrm>
            <a:off x="5544194" y="4129077"/>
            <a:ext cx="359855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220DA4-FAA2-CEE9-E4CC-77EDF719216C}"/>
              </a:ext>
            </a:extLst>
          </p:cNvPr>
          <p:cNvSpPr/>
          <p:nvPr/>
        </p:nvSpPr>
        <p:spPr>
          <a:xfrm>
            <a:off x="4547451" y="4062929"/>
            <a:ext cx="359855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2BB01E-086D-4D77-DCEC-0AC516CAC93A}"/>
              </a:ext>
            </a:extLst>
          </p:cNvPr>
          <p:cNvSpPr/>
          <p:nvPr/>
        </p:nvSpPr>
        <p:spPr>
          <a:xfrm>
            <a:off x="6578482" y="4093812"/>
            <a:ext cx="1497013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6A267D6C-2950-4B47-1CBF-1668B5B00D48}"/>
              </a:ext>
            </a:extLst>
          </p:cNvPr>
          <p:cNvSpPr/>
          <p:nvPr/>
        </p:nvSpPr>
        <p:spPr>
          <a:xfrm>
            <a:off x="1328482" y="2950146"/>
            <a:ext cx="1216706" cy="278685"/>
          </a:xfrm>
          <a:prstGeom prst="borderCallout1">
            <a:avLst>
              <a:gd name="adj1" fmla="val 102497"/>
              <a:gd name="adj2" fmla="val 48611"/>
              <a:gd name="adj3" fmla="val 384577"/>
              <a:gd name="adj4" fmla="val 48208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Generate Waveform</a:t>
            </a: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88F691E7-6191-25F6-6277-7E2A06464CA0}"/>
              </a:ext>
            </a:extLst>
          </p:cNvPr>
          <p:cNvSpPr/>
          <p:nvPr/>
        </p:nvSpPr>
        <p:spPr>
          <a:xfrm>
            <a:off x="2300066" y="3396775"/>
            <a:ext cx="1216706" cy="278685"/>
          </a:xfrm>
          <a:prstGeom prst="borderCallout1">
            <a:avLst>
              <a:gd name="adj1" fmla="val 102497"/>
              <a:gd name="adj2" fmla="val 48611"/>
              <a:gd name="adj3" fmla="val 229309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Gateway RF TRX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E292FAE6-3416-A056-4275-95516D9A180C}"/>
              </a:ext>
            </a:extLst>
          </p:cNvPr>
          <p:cNvSpPr/>
          <p:nvPr/>
        </p:nvSpPr>
        <p:spPr>
          <a:xfrm>
            <a:off x="4173839" y="2189923"/>
            <a:ext cx="1016947" cy="278685"/>
          </a:xfrm>
          <a:prstGeom prst="borderCallout1">
            <a:avLst>
              <a:gd name="adj1" fmla="val 102497"/>
              <a:gd name="adj2" fmla="val 48611"/>
              <a:gd name="adj3" fmla="val 665816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Payload RX Array</a:t>
            </a:r>
          </a:p>
        </p:txBody>
      </p:sp>
      <p:sp>
        <p:nvSpPr>
          <p:cNvPr id="23" name="Callout: Line 22">
            <a:extLst>
              <a:ext uri="{FF2B5EF4-FFF2-40B4-BE49-F238E27FC236}">
                <a16:creationId xmlns:a16="http://schemas.microsoft.com/office/drawing/2014/main" id="{A17DFE5E-AA97-447D-A479-18ECD1364DF4}"/>
              </a:ext>
            </a:extLst>
          </p:cNvPr>
          <p:cNvSpPr/>
          <p:nvPr/>
        </p:nvSpPr>
        <p:spPr>
          <a:xfrm>
            <a:off x="3678070" y="3221528"/>
            <a:ext cx="1216706" cy="414943"/>
          </a:xfrm>
          <a:prstGeom prst="borderCallout1">
            <a:avLst>
              <a:gd name="adj1" fmla="val 102497"/>
              <a:gd name="adj2" fmla="val 48611"/>
              <a:gd name="adj3" fmla="val 229309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Feeder Link Parameters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D6FFC6A0-44D5-AF96-F34F-0188EF70B3FC}"/>
              </a:ext>
            </a:extLst>
          </p:cNvPr>
          <p:cNvSpPr/>
          <p:nvPr/>
        </p:nvSpPr>
        <p:spPr>
          <a:xfrm>
            <a:off x="4728034" y="1662579"/>
            <a:ext cx="1016947" cy="278685"/>
          </a:xfrm>
          <a:prstGeom prst="borderCallout1">
            <a:avLst>
              <a:gd name="adj1" fmla="val 102497"/>
              <a:gd name="adj2" fmla="val 48611"/>
              <a:gd name="adj3" fmla="val 774210"/>
              <a:gd name="adj4" fmla="val 48076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Set Payload Type</a:t>
            </a:r>
          </a:p>
        </p:txBody>
      </p:sp>
      <p:sp>
        <p:nvSpPr>
          <p:cNvPr id="25" name="Callout: Line 24">
            <a:extLst>
              <a:ext uri="{FF2B5EF4-FFF2-40B4-BE49-F238E27FC236}">
                <a16:creationId xmlns:a16="http://schemas.microsoft.com/office/drawing/2014/main" id="{11E9EEC6-1184-8341-DE97-D3FA40FAE78A}"/>
              </a:ext>
            </a:extLst>
          </p:cNvPr>
          <p:cNvSpPr/>
          <p:nvPr/>
        </p:nvSpPr>
        <p:spPr>
          <a:xfrm>
            <a:off x="5200773" y="2744714"/>
            <a:ext cx="1016947" cy="278685"/>
          </a:xfrm>
          <a:prstGeom prst="borderCallout1">
            <a:avLst>
              <a:gd name="adj1" fmla="val 102497"/>
              <a:gd name="adj2" fmla="val 48611"/>
              <a:gd name="adj3" fmla="val 487111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Payload TX Arra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C4C87F2-B344-BF04-3383-4BED340AE3BF}"/>
              </a:ext>
            </a:extLst>
          </p:cNvPr>
          <p:cNvSpPr/>
          <p:nvPr/>
        </p:nvSpPr>
        <p:spPr>
          <a:xfrm>
            <a:off x="6096508" y="4101565"/>
            <a:ext cx="359855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3AC414DA-D358-75D5-EDE9-752CEE03A8A0}"/>
              </a:ext>
            </a:extLst>
          </p:cNvPr>
          <p:cNvSpPr/>
          <p:nvPr/>
        </p:nvSpPr>
        <p:spPr>
          <a:xfrm>
            <a:off x="5668082" y="3133783"/>
            <a:ext cx="1216706" cy="414943"/>
          </a:xfrm>
          <a:prstGeom prst="borderCallout1">
            <a:avLst>
              <a:gd name="adj1" fmla="val 102497"/>
              <a:gd name="adj2" fmla="val 48611"/>
              <a:gd name="adj3" fmla="val 229309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Service Link Parameters</a:t>
            </a:r>
          </a:p>
        </p:txBody>
      </p:sp>
      <p:sp>
        <p:nvSpPr>
          <p:cNvPr id="28" name="Callout: Line 27">
            <a:extLst>
              <a:ext uri="{FF2B5EF4-FFF2-40B4-BE49-F238E27FC236}">
                <a16:creationId xmlns:a16="http://schemas.microsoft.com/office/drawing/2014/main" id="{533DE4F4-9963-3F7A-BC49-B05611C536FF}"/>
              </a:ext>
            </a:extLst>
          </p:cNvPr>
          <p:cNvSpPr/>
          <p:nvPr/>
        </p:nvSpPr>
        <p:spPr>
          <a:xfrm>
            <a:off x="6596638" y="3627350"/>
            <a:ext cx="1460700" cy="278685"/>
          </a:xfrm>
          <a:prstGeom prst="borderCallout1">
            <a:avLst>
              <a:gd name="adj1" fmla="val 102497"/>
              <a:gd name="adj2" fmla="val 48611"/>
              <a:gd name="adj3" fmla="val 169652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UT RF TRX</a:t>
            </a:r>
          </a:p>
        </p:txBody>
      </p:sp>
      <p:sp>
        <p:nvSpPr>
          <p:cNvPr id="29" name="Callout: Line 28">
            <a:extLst>
              <a:ext uri="{FF2B5EF4-FFF2-40B4-BE49-F238E27FC236}">
                <a16:creationId xmlns:a16="http://schemas.microsoft.com/office/drawing/2014/main" id="{B06A2A61-2890-7E72-5E45-2543BB6912D2}"/>
              </a:ext>
            </a:extLst>
          </p:cNvPr>
          <p:cNvSpPr/>
          <p:nvPr/>
        </p:nvSpPr>
        <p:spPr>
          <a:xfrm>
            <a:off x="9693120" y="996867"/>
            <a:ext cx="1216706" cy="278685"/>
          </a:xfrm>
          <a:prstGeom prst="borderCallout1">
            <a:avLst>
              <a:gd name="adj1" fmla="val 102497"/>
              <a:gd name="adj2" fmla="val 48611"/>
              <a:gd name="adj3" fmla="val 229309"/>
              <a:gd name="adj4" fmla="val 4887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Dynamic Table of KPI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2C21D24-90EE-742A-CDA3-8CE4885376C7}"/>
              </a:ext>
            </a:extLst>
          </p:cNvPr>
          <p:cNvSpPr/>
          <p:nvPr/>
        </p:nvSpPr>
        <p:spPr>
          <a:xfrm>
            <a:off x="8296792" y="4089314"/>
            <a:ext cx="359855" cy="3342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31" name="Callout: Line 30">
            <a:extLst>
              <a:ext uri="{FF2B5EF4-FFF2-40B4-BE49-F238E27FC236}">
                <a16:creationId xmlns:a16="http://schemas.microsoft.com/office/drawing/2014/main" id="{93755F6F-A2D0-9E02-D00E-5BB9A3E4BC45}"/>
              </a:ext>
            </a:extLst>
          </p:cNvPr>
          <p:cNvSpPr/>
          <p:nvPr/>
        </p:nvSpPr>
        <p:spPr>
          <a:xfrm>
            <a:off x="7868366" y="3023399"/>
            <a:ext cx="1216706" cy="278685"/>
          </a:xfrm>
          <a:prstGeom prst="borderCallout1">
            <a:avLst>
              <a:gd name="adj1" fmla="val 102497"/>
              <a:gd name="adj2" fmla="val 48611"/>
              <a:gd name="adj3" fmla="val 378611"/>
              <a:gd name="adj4" fmla="val 48891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Detect Wavefor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D839A2-4E94-03FF-BEE3-44E3E694F644}"/>
              </a:ext>
            </a:extLst>
          </p:cNvPr>
          <p:cNvSpPr/>
          <p:nvPr/>
        </p:nvSpPr>
        <p:spPr>
          <a:xfrm>
            <a:off x="2669722" y="5641521"/>
            <a:ext cx="555172" cy="432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0EC5E8-47CA-723C-552F-9E6C89B9B212}"/>
              </a:ext>
            </a:extLst>
          </p:cNvPr>
          <p:cNvSpPr/>
          <p:nvPr/>
        </p:nvSpPr>
        <p:spPr>
          <a:xfrm>
            <a:off x="5200773" y="5892981"/>
            <a:ext cx="555172" cy="432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684FCB-F4BF-D19A-EAED-00C3FD35F761}"/>
              </a:ext>
            </a:extLst>
          </p:cNvPr>
          <p:cNvSpPr/>
          <p:nvPr/>
        </p:nvSpPr>
        <p:spPr>
          <a:xfrm>
            <a:off x="6310993" y="5942575"/>
            <a:ext cx="631894" cy="396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8DC197-0D39-F2AC-29AD-6895EA7350B3}"/>
              </a:ext>
            </a:extLst>
          </p:cNvPr>
          <p:cNvSpPr/>
          <p:nvPr/>
        </p:nvSpPr>
        <p:spPr>
          <a:xfrm>
            <a:off x="8019205" y="6015037"/>
            <a:ext cx="928851" cy="289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C8B42F-0BBC-CA7C-6BA7-25CB9758C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8932" y="197783"/>
            <a:ext cx="4523125" cy="27773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C1EDB4-5D61-6181-95E3-06BE58A876C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1518" t="14078" r="2527" b="15996"/>
          <a:stretch/>
        </p:blipFill>
        <p:spPr>
          <a:xfrm>
            <a:off x="9522278" y="4606291"/>
            <a:ext cx="2556823" cy="17329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1F7A86-5B50-97F3-63B3-9EB8109A02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97361" y="2966978"/>
            <a:ext cx="1770327" cy="1596513"/>
          </a:xfrm>
          <a:prstGeom prst="rect">
            <a:avLst/>
          </a:prstGeom>
        </p:spPr>
      </p:pic>
      <p:sp>
        <p:nvSpPr>
          <p:cNvPr id="33" name="Speech Bubble: Rectangle with Corners Rounded 32">
            <a:extLst>
              <a:ext uri="{FF2B5EF4-FFF2-40B4-BE49-F238E27FC236}">
                <a16:creationId xmlns:a16="http://schemas.microsoft.com/office/drawing/2014/main" id="{7671CB1A-F48E-2FCD-3BD8-3267F6328B49}"/>
              </a:ext>
            </a:extLst>
          </p:cNvPr>
          <p:cNvSpPr/>
          <p:nvPr/>
        </p:nvSpPr>
        <p:spPr>
          <a:xfrm>
            <a:off x="112899" y="4475547"/>
            <a:ext cx="2261305" cy="673624"/>
          </a:xfrm>
          <a:prstGeom prst="wedgeRoundRectCallout">
            <a:avLst>
              <a:gd name="adj1" fmla="val 52666"/>
              <a:gd name="adj2" fmla="val -20305"/>
              <a:gd name="adj3" fmla="val 1666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noProof="0" dirty="0"/>
              <a:t>Realistic Modeling of GW, SAT, and UE RF Processing and Impairments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71A0BF25-BDC7-72DF-F6A0-041D4B16FBF2}"/>
              </a:ext>
            </a:extLst>
          </p:cNvPr>
          <p:cNvSpPr/>
          <p:nvPr/>
        </p:nvSpPr>
        <p:spPr>
          <a:xfrm>
            <a:off x="4106495" y="6101448"/>
            <a:ext cx="3968999" cy="224241"/>
          </a:xfrm>
          <a:prstGeom prst="borderCallout1">
            <a:avLst>
              <a:gd name="adj1" fmla="val 2337"/>
              <a:gd name="adj2" fmla="val 50146"/>
              <a:gd name="adj3" fmla="val -100853"/>
              <a:gd name="adj4" fmla="val 50015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Monitoring Signal Spectrum, Power CCDF, etc. on the Transmission Paths</a:t>
            </a:r>
          </a:p>
        </p:txBody>
      </p:sp>
      <p:sp>
        <p:nvSpPr>
          <p:cNvPr id="34" name="Speech Bubble: Rectangle with Corners Rounded 33">
            <a:extLst>
              <a:ext uri="{FF2B5EF4-FFF2-40B4-BE49-F238E27FC236}">
                <a16:creationId xmlns:a16="http://schemas.microsoft.com/office/drawing/2014/main" id="{9D18767B-B916-DA07-623C-26D81E075F40}"/>
              </a:ext>
            </a:extLst>
          </p:cNvPr>
          <p:cNvSpPr/>
          <p:nvPr/>
        </p:nvSpPr>
        <p:spPr>
          <a:xfrm>
            <a:off x="1478852" y="5804089"/>
            <a:ext cx="2619672" cy="673624"/>
          </a:xfrm>
          <a:prstGeom prst="wedgeRoundRectCallout">
            <a:avLst>
              <a:gd name="adj1" fmla="val 28965"/>
              <a:gd name="adj2" fmla="val -62725"/>
              <a:gd name="adj3" fmla="val 1666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noProof="0" dirty="0"/>
              <a:t>Realistic Modeling of Feeder/Service Link Propagation and Channel Effects</a:t>
            </a:r>
          </a:p>
        </p:txBody>
      </p: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90F704F8-DD52-83AE-8C87-79C5940EBEF7}"/>
              </a:ext>
            </a:extLst>
          </p:cNvPr>
          <p:cNvSpPr/>
          <p:nvPr/>
        </p:nvSpPr>
        <p:spPr>
          <a:xfrm>
            <a:off x="6516618" y="2186812"/>
            <a:ext cx="2738166" cy="802296"/>
          </a:xfrm>
          <a:prstGeom prst="wedgeRoundRectCallout">
            <a:avLst>
              <a:gd name="adj1" fmla="val 15142"/>
              <a:gd name="adj2" fmla="val -70616"/>
              <a:gd name="adj3" fmla="val 1666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noProof="0" dirty="0"/>
              <a:t>3D Visualization of SAT Trajectories and Propagation Effect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12516F7E-A5C8-D9F8-2AE0-BF090D25A3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9166" y="1234543"/>
            <a:ext cx="2743200" cy="134018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9D3F786-157D-4A24-E065-0E1E9F47C9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9512" y="1234543"/>
            <a:ext cx="203662" cy="134416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4606B2D7-4209-5418-D616-948EB95B0906}"/>
              </a:ext>
            </a:extLst>
          </p:cNvPr>
          <p:cNvSpPr txBox="1"/>
          <p:nvPr/>
        </p:nvSpPr>
        <p:spPr>
          <a:xfrm>
            <a:off x="1477867" y="2183029"/>
            <a:ext cx="20455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b="1" noProof="0" dirty="0">
                <a:solidFill>
                  <a:schemeClr val="bg1"/>
                </a:solidFill>
              </a:rPr>
              <a:t>Gateway, Payload and UE Antenna Array Modeli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14FE6B4-5317-A336-2E9C-871DB4A81DAF}"/>
              </a:ext>
            </a:extLst>
          </p:cNvPr>
          <p:cNvSpPr txBox="1"/>
          <p:nvPr/>
        </p:nvSpPr>
        <p:spPr>
          <a:xfrm>
            <a:off x="10195420" y="3039630"/>
            <a:ext cx="162114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onlinearity Model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0ADBBDC-0861-D2BF-82E5-D182F267E324}"/>
              </a:ext>
            </a:extLst>
          </p:cNvPr>
          <p:cNvSpPr txBox="1"/>
          <p:nvPr/>
        </p:nvSpPr>
        <p:spPr>
          <a:xfrm>
            <a:off x="1831725" y="3257584"/>
            <a:ext cx="8528550" cy="92333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tIns="91440" bIns="91440" anchor="ctr" anchorCtr="1">
            <a:spAutoFit/>
          </a:bodyPr>
          <a:lstStyle/>
          <a:p>
            <a:pPr algn="ctr"/>
            <a:r>
              <a:rPr lang="en-US" sz="2400" b="1" noProof="0" dirty="0">
                <a:solidFill>
                  <a:schemeClr val="bg1"/>
                </a:solidFill>
              </a:rPr>
              <a:t> SystemVue NTN Examples can be Customized based on User Scenarios</a:t>
            </a:r>
          </a:p>
        </p:txBody>
      </p:sp>
    </p:spTree>
    <p:extLst>
      <p:ext uri="{BB962C8B-B14F-4D97-AF65-F5344CB8AC3E}">
        <p14:creationId xmlns:p14="http://schemas.microsoft.com/office/powerpoint/2010/main" val="306119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94623F-6081-0B8A-CB22-D1E947D567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233154-3B4F-B85E-1B04-3091C9C1E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>
                <a:solidFill>
                  <a:srgbClr val="FF0000"/>
                </a:solidFill>
              </a:rPr>
              <a:t>NTN Coverage Maps</a:t>
            </a:r>
            <a:endParaRPr lang="en-US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FCFAAC-F504-D9D1-9062-4C2CB686823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noProof="0" dirty="0"/>
              <a:t>LEO Satellite Flying over San Francisco Bay Area at 600 km (256 Element Rectangular Array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1E27E9-748E-38AF-BE75-24E3F0E50C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549" y="1421782"/>
            <a:ext cx="4435816" cy="466344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E794A79-B4A5-E56D-A584-98A47F2B47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793" y="1498526"/>
            <a:ext cx="4351594" cy="42976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D19AD5C-D1ED-C778-72BE-711B130A59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3841" y="1498526"/>
            <a:ext cx="561551" cy="42976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57D2510-D3D1-A12D-FDD5-88CE663203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31529" y="1493423"/>
            <a:ext cx="1986343" cy="2528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97C4591-5AB5-5767-F030-E56985B136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21046" y="3700562"/>
            <a:ext cx="2393208" cy="24688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DE1859-4AF5-17A4-B164-0870FD8863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91015" y="3700562"/>
            <a:ext cx="430031" cy="24688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D45394E-E934-986B-90FA-0AE4AB8E53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30922" y="6117879"/>
            <a:ext cx="2103120" cy="2461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424BF41-4561-DE75-6729-B22FC7EEF140}"/>
              </a:ext>
            </a:extLst>
          </p:cNvPr>
          <p:cNvSpPr txBox="1"/>
          <p:nvPr/>
        </p:nvSpPr>
        <p:spPr>
          <a:xfrm>
            <a:off x="1181119" y="3291837"/>
            <a:ext cx="10107347" cy="92333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tIns="91440" bIns="91440" anchor="ctr" anchorCtr="1">
            <a:spAutoFit/>
          </a:bodyPr>
          <a:lstStyle/>
          <a:p>
            <a:pPr algn="ctr"/>
            <a:r>
              <a:rPr lang="en-US" sz="2400" b="1" noProof="0" dirty="0">
                <a:solidFill>
                  <a:schemeClr val="bg1"/>
                </a:solidFill>
              </a:rPr>
              <a:t> Coverage Maps can be Used as an Optimization Criteria for Payload Antenna Array Design</a:t>
            </a:r>
          </a:p>
        </p:txBody>
      </p:sp>
    </p:spTree>
    <p:extLst>
      <p:ext uri="{BB962C8B-B14F-4D97-AF65-F5344CB8AC3E}">
        <p14:creationId xmlns:p14="http://schemas.microsoft.com/office/powerpoint/2010/main" val="359453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B7FCAE-C2CD-29ED-9BAF-61A28D2845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092F73-1335-D808-0F02-0C76EFB9BB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noProof="0" dirty="0"/>
              <a:t>Simulating the End-to-End NTN Transmission Path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9AAD72-B1DD-1EAB-B5C8-CAA73BE36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636620" cy="430887"/>
          </a:xfrm>
        </p:spPr>
        <p:txBody>
          <a:bodyPr/>
          <a:lstStyle/>
          <a:p>
            <a:r>
              <a:rPr lang="en-US" sz="2800" noProof="0" dirty="0"/>
              <a:t>Summary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41C5F9D5-209E-9DB2-6837-7C292488CA04}"/>
              </a:ext>
            </a:extLst>
          </p:cNvPr>
          <p:cNvSpPr txBox="1">
            <a:spLocks/>
          </p:cNvSpPr>
          <p:nvPr/>
        </p:nvSpPr>
        <p:spPr>
          <a:xfrm>
            <a:off x="695104" y="1670325"/>
            <a:ext cx="10636619" cy="3692249"/>
          </a:xfrm>
          <a:prstGeom prst="rect">
            <a:avLst/>
          </a:prstGeom>
        </p:spPr>
        <p:txBody>
          <a:bodyPr lIns="0"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lang="en-US" sz="12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  <a:buSzPct val="100000"/>
            </a:pPr>
            <a:r>
              <a:rPr lang="en-US" b="1" noProof="0" dirty="0">
                <a:solidFill>
                  <a:schemeClr val="bg1"/>
                </a:solidFill>
              </a:rPr>
              <a:t>5G NTN and 6G Satellite Evolution</a:t>
            </a:r>
            <a:r>
              <a:rPr lang="en-US" noProof="0" dirty="0">
                <a:solidFill>
                  <a:schemeClr val="bg1"/>
                </a:solidFill>
              </a:rPr>
              <a:t>: Bridging terrestrial and non-terrestrial networks for global coverage.</a:t>
            </a:r>
          </a:p>
          <a:p>
            <a:pPr>
              <a:buClr>
                <a:schemeClr val="bg1"/>
              </a:buClr>
              <a:buSzPct val="100000"/>
            </a:pPr>
            <a:r>
              <a:rPr lang="en-US" b="1" noProof="0" dirty="0">
                <a:solidFill>
                  <a:schemeClr val="bg1"/>
                </a:solidFill>
              </a:rPr>
              <a:t>Challenges in NTN Design</a:t>
            </a:r>
            <a:r>
              <a:rPr lang="en-US" noProof="0" dirty="0">
                <a:solidFill>
                  <a:schemeClr val="bg1"/>
                </a:solidFill>
              </a:rPr>
              <a:t>: Spectrum sharing, interference modeling, and validation of the systems under realistic conditions.</a:t>
            </a:r>
          </a:p>
          <a:p>
            <a:pPr>
              <a:buClr>
                <a:schemeClr val="bg1"/>
              </a:buClr>
              <a:buSzPct val="100000"/>
            </a:pPr>
            <a:r>
              <a:rPr lang="en-US" b="1" noProof="0" dirty="0">
                <a:solidFill>
                  <a:schemeClr val="bg1"/>
                </a:solidFill>
              </a:rPr>
              <a:t>Experience SystemVue</a:t>
            </a:r>
            <a:r>
              <a:rPr lang="en-US" noProof="0" dirty="0">
                <a:solidFill>
                  <a:schemeClr val="bg1"/>
                </a:solidFill>
              </a:rPr>
              <a:t> software solution for multi-domain modeling and simulation of complex RF systems, encompassing analog/RF and baseband/DSP stages. </a:t>
            </a:r>
          </a:p>
          <a:p>
            <a:pPr>
              <a:buClr>
                <a:schemeClr val="bg1"/>
              </a:buClr>
              <a:buSzPct val="100000"/>
            </a:pPr>
            <a:r>
              <a:rPr lang="en-US" noProof="0" dirty="0">
                <a:solidFill>
                  <a:schemeClr val="bg1"/>
                </a:solidFill>
              </a:rPr>
              <a:t>Use </a:t>
            </a:r>
            <a:r>
              <a:rPr lang="en-US" b="1" noProof="0" dirty="0">
                <a:solidFill>
                  <a:schemeClr val="bg1"/>
                </a:solidFill>
              </a:rPr>
              <a:t>High-Fidelity Modeling </a:t>
            </a:r>
            <a:r>
              <a:rPr lang="en-US" noProof="0" dirty="0">
                <a:solidFill>
                  <a:schemeClr val="bg1"/>
                </a:solidFill>
              </a:rPr>
              <a:t>to reduce risks with advanced RF-aware design workflows, which integrate decades of Keysight measurement science into RF instrumentation.</a:t>
            </a:r>
          </a:p>
          <a:p>
            <a:pPr>
              <a:buClr>
                <a:schemeClr val="bg1"/>
              </a:buClr>
              <a:buSzPct val="100000"/>
            </a:pPr>
            <a:r>
              <a:rPr lang="en-US" b="1" noProof="0" dirty="0">
                <a:solidFill>
                  <a:schemeClr val="bg1"/>
                </a:solidFill>
              </a:rPr>
              <a:t>Validate</a:t>
            </a:r>
            <a:r>
              <a:rPr lang="en-US" noProof="0" dirty="0">
                <a:solidFill>
                  <a:schemeClr val="bg1"/>
                </a:solidFill>
              </a:rPr>
              <a:t> complete physical layer system designs for 5G/6G NTN operation, estimate link budgets, and evaluate configuration trade-offs for different scenarios.</a:t>
            </a:r>
          </a:p>
        </p:txBody>
      </p:sp>
    </p:spTree>
    <p:extLst>
      <p:ext uri="{BB962C8B-B14F-4D97-AF65-F5344CB8AC3E}">
        <p14:creationId xmlns:p14="http://schemas.microsoft.com/office/powerpoint/2010/main" val="280643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022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814C1-1FC0-ADCE-6BAC-64BC291A70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CB5355D-F0BF-3F8E-E68E-9DA6F10A300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B21FCF-1A6A-48A5-5D9B-7FD199B08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430887"/>
          </a:xfrm>
        </p:spPr>
        <p:txBody>
          <a:bodyPr wrap="square" anchor="t">
            <a:normAutofit/>
          </a:bodyPr>
          <a:lstStyle/>
          <a:p>
            <a:r>
              <a:rPr lang="en-US" noProof="0" dirty="0"/>
              <a:t>Out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4F04B78-3B5B-B8C3-49CE-957103480B1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</p:spPr>
        <p:txBody>
          <a:bodyPr/>
          <a:lstStyle/>
          <a:p>
            <a:r>
              <a:rPr lang="en-US" noProof="0" dirty="0"/>
              <a:t>NTN System Design Challenges</a:t>
            </a:r>
          </a:p>
          <a:p>
            <a:r>
              <a:rPr lang="en-US" noProof="0" dirty="0"/>
              <a:t>What Makes a Simulation tool an RF Digital Twin?</a:t>
            </a:r>
          </a:p>
          <a:p>
            <a:r>
              <a:rPr lang="en-US" noProof="0" dirty="0"/>
              <a:t>How SystemVue Can Create a Digital Twin?</a:t>
            </a:r>
          </a:p>
          <a:p>
            <a:r>
              <a:rPr lang="en-US" noProof="0" dirty="0"/>
              <a:t>Realistic NTN Link Budget and Coverage Analysis</a:t>
            </a:r>
          </a:p>
          <a:p>
            <a:r>
              <a:rPr lang="en-US" noProof="0" dirty="0"/>
              <a:t>Summary</a:t>
            </a:r>
          </a:p>
          <a:p>
            <a:endParaRPr lang="en-US" noProof="0" dirty="0"/>
          </a:p>
        </p:txBody>
      </p:sp>
      <p:pic>
        <p:nvPicPr>
          <p:cNvPr id="9" name="Picture 6" descr="NIST works on applying cybersecurity framework for satellite command and control, seeks feedback">
            <a:extLst>
              <a:ext uri="{FF2B5EF4-FFF2-40B4-BE49-F238E27FC236}">
                <a16:creationId xmlns:a16="http://schemas.microsoft.com/office/drawing/2014/main" id="{B38AEDF1-7DBB-2D74-A00A-AC2FDBF8E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>
            <a:fillRect/>
          </a:stretch>
        </p:blipFill>
        <p:spPr bwMode="auto">
          <a:xfrm>
            <a:off x="6096000" y="10"/>
            <a:ext cx="6095999" cy="6857990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99312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F32857-38CC-A91D-DAA8-C9F32271C51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noProof="0" dirty="0"/>
              <a:t>RF and Antenna Array Design Challen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629D84-E888-E726-DF10-8F4BD012784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sz="1800" b="1" noProof="0" dirty="0"/>
              <a:t>Severe propagation conditions</a:t>
            </a:r>
            <a:r>
              <a:rPr lang="en-US" sz="1800" noProof="0" dirty="0"/>
              <a:t>: Large free-space path loss, atmospheric attenuation, and dynamic satellite geometry significantly impact link margin and coverage.</a:t>
            </a:r>
          </a:p>
          <a:p>
            <a:r>
              <a:rPr lang="en-US" sz="1800" b="1" noProof="0" dirty="0"/>
              <a:t>High Doppler and timing variations</a:t>
            </a:r>
            <a:r>
              <a:rPr lang="en-US" sz="1800" noProof="0" dirty="0"/>
              <a:t>: Fast-moving LEO satellites introduce large Doppler shifts and delay variations that complicate synchronization and waveform performance.</a:t>
            </a:r>
          </a:p>
          <a:p>
            <a:r>
              <a:rPr lang="en-US" sz="1800" b="1" noProof="0" dirty="0"/>
              <a:t>Large-scale phased-array design</a:t>
            </a:r>
            <a:r>
              <a:rPr lang="en-US" sz="1800" noProof="0" dirty="0"/>
              <a:t>: Multi-beam satellite payload arrays must achieve precise beam steering, calibration, and sidelobe control while managing active impedance and mutual coupling effects.</a:t>
            </a:r>
          </a:p>
          <a:p>
            <a:r>
              <a:rPr lang="en-US" sz="1800" b="1" noProof="0" dirty="0"/>
              <a:t>RF impairments and nonlinearities</a:t>
            </a:r>
            <a:r>
              <a:rPr lang="en-US" sz="1800" noProof="0" dirty="0"/>
              <a:t>: Power amplifier nonlinearity, phase noise, I/Q imbalance, and frequency offsets can degrade EVM, spectral compliance, and overall system performance.</a:t>
            </a:r>
          </a:p>
          <a:p>
            <a:r>
              <a:rPr lang="en-US" sz="1800" b="1" noProof="0" dirty="0"/>
              <a:t>Energy and resource constraints</a:t>
            </a:r>
            <a:r>
              <a:rPr lang="en-US" sz="1800" noProof="0" dirty="0"/>
              <a:t>: Satellite payloads operate with limited power, requiring efficient beamforming, amplifier operation, and dynamic power management to maintain coverage and throughpu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194A4C-532D-0C00-BEDB-61282944B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NTN System Design Challeng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B79C8D-E826-8481-BCED-A0936A3D1B69}"/>
              </a:ext>
            </a:extLst>
          </p:cNvPr>
          <p:cNvSpPr txBox="1"/>
          <p:nvPr/>
        </p:nvSpPr>
        <p:spPr>
          <a:xfrm>
            <a:off x="916802" y="3186478"/>
            <a:ext cx="10358396" cy="1415772"/>
          </a:xfrm>
          <a:prstGeom prst="rect">
            <a:avLst/>
          </a:prstGeom>
          <a:solidFill>
            <a:srgbClr val="FF0000"/>
          </a:solidFill>
        </p:spPr>
        <p:txBody>
          <a:bodyPr wrap="square" tIns="91440" bIns="91440" anchor="ctr" anchorCtr="1">
            <a:spAutoFit/>
          </a:bodyPr>
          <a:lstStyle/>
          <a:p>
            <a:pPr algn="ctr"/>
            <a:r>
              <a:rPr lang="en-US" sz="2000" b="1" noProof="0" dirty="0">
                <a:solidFill>
                  <a:schemeClr val="bg1"/>
                </a:solidFill>
              </a:rPr>
              <a:t>Designing reliable NTN satellite links requires accurate system-level modeling that captures propagation, RF impairments, phased-array behavior, and power constraints—making high-fidelity RF digital twins essential for predicting real-world performance.</a:t>
            </a:r>
          </a:p>
        </p:txBody>
      </p:sp>
    </p:spTree>
    <p:extLst>
      <p:ext uri="{BB962C8B-B14F-4D97-AF65-F5344CB8AC3E}">
        <p14:creationId xmlns:p14="http://schemas.microsoft.com/office/powerpoint/2010/main" val="256391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81270B-BADF-67FC-83E7-9914A47C82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480007"/>
            <a:ext cx="7732460" cy="4656841"/>
          </a:xfrm>
          <a:noFill/>
        </p:spPr>
        <p:txBody>
          <a:bodyPr/>
          <a:lstStyle/>
          <a:p>
            <a:pPr marL="0" indent="0">
              <a:buClr>
                <a:schemeClr val="bg1"/>
              </a:buClr>
              <a:buNone/>
            </a:pPr>
            <a:r>
              <a:rPr lang="en-US" noProof="0" dirty="0"/>
              <a:t>Energy efficiency in satellite payloads is a critical design goal because satellites operate with limited onboard power and must maximize performance while minimizing energy consumption. Here are the main strategies used:</a:t>
            </a:r>
          </a:p>
          <a:p>
            <a:pPr lvl="1">
              <a:buClr>
                <a:schemeClr val="tx1"/>
              </a:buClr>
            </a:pPr>
            <a:r>
              <a:rPr lang="en-US" b="1" noProof="0" dirty="0"/>
              <a:t>Power Amplifier Efficiency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Use of High-Efficiency Amplifiers: Technologies like GaN-based power amplifiers and Doherty architectures reduce power loss.</a:t>
            </a:r>
          </a:p>
          <a:p>
            <a:pPr lvl="2">
              <a:lnSpc>
                <a:spcPct val="100000"/>
              </a:lnSpc>
              <a:buClr>
                <a:schemeClr val="bg1"/>
              </a:buClr>
            </a:pPr>
            <a:r>
              <a:rPr lang="en-US" noProof="0" dirty="0"/>
              <a:t>Envelope Tracking (ET) and Digital Predistortion (DPD): These techniques optimize amplifier operation for varying signal conditions, improving efficiency without sacrificing linearity.</a:t>
            </a:r>
          </a:p>
          <a:p>
            <a:pPr lvl="1">
              <a:buClr>
                <a:schemeClr val="tx1"/>
              </a:buClr>
            </a:pPr>
            <a:r>
              <a:rPr lang="en-US" b="1" noProof="0" dirty="0"/>
              <a:t>Advanced Antenna Systems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Phased-Array Antennas: Enable dynamic beam steering without mechanical movement, reducing energy waste.</a:t>
            </a:r>
          </a:p>
          <a:p>
            <a:pPr lvl="2">
              <a:lnSpc>
                <a:spcPct val="100000"/>
              </a:lnSpc>
              <a:buClr>
                <a:schemeClr val="bg1"/>
              </a:buClr>
            </a:pPr>
            <a:r>
              <a:rPr lang="en-US" noProof="0" dirty="0"/>
              <a:t>Beamforming Algorithms: Focus energy where needed, minimizing unnecessary radiation and power consumption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8099B8-2CF4-6262-0030-7FA42F17F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636620" cy="369332"/>
          </a:xfrm>
        </p:spPr>
        <p:txBody>
          <a:bodyPr/>
          <a:lstStyle/>
          <a:p>
            <a:r>
              <a:rPr lang="en-US" sz="2400" noProof="0" dirty="0"/>
              <a:t>Energy Efficiency Considerations in Payload Design</a:t>
            </a:r>
          </a:p>
        </p:txBody>
      </p:sp>
      <p:pic>
        <p:nvPicPr>
          <p:cNvPr id="6146" name="Picture 2" descr="What is a Payload Mass of a Satellite Bus? - SatNow">
            <a:extLst>
              <a:ext uri="{FF2B5EF4-FFF2-40B4-BE49-F238E27FC236}">
                <a16:creationId xmlns:a16="http://schemas.microsoft.com/office/drawing/2014/main" id="{FD30F0C4-6876-DE2A-2DF9-4778BDC75B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8136" y="2187019"/>
            <a:ext cx="3758152" cy="2818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89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3EE86D-344E-B8A7-2397-3FD9D71ACF8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480007"/>
            <a:ext cx="7723033" cy="4628561"/>
          </a:xfrm>
          <a:noFill/>
        </p:spPr>
        <p:txBody>
          <a:bodyPr/>
          <a:lstStyle/>
          <a:p>
            <a:pPr lvl="1">
              <a:buClr>
                <a:schemeClr val="tx1"/>
              </a:buClr>
            </a:pPr>
            <a:r>
              <a:rPr lang="en-US" b="1" noProof="0" dirty="0"/>
              <a:t>Power Management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Adaptive Power Control: Adjusts transmit power based on link conditions and traffic demand.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Energy-Aware Scheduling: Prioritizes tasks and payload operations to avoid peak power loads.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Switching off transceivers or antenna sub-arrays when not in use (see below)</a:t>
            </a:r>
          </a:p>
          <a:p>
            <a:pPr lvl="1">
              <a:buClr>
                <a:schemeClr val="tx1"/>
              </a:buClr>
            </a:pPr>
            <a:r>
              <a:rPr lang="en-US" b="1" noProof="0" dirty="0"/>
              <a:t>Thermal and Hardware Optimization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Low-Power RF Components: Use of efficient mixers, LNAs, and filters.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Thermal Design: Efficient heat dissipation reduces cooling requirements, indirectly saving energy.</a:t>
            </a:r>
          </a:p>
          <a:p>
            <a:pPr lvl="1">
              <a:buClr>
                <a:schemeClr val="tx1"/>
              </a:buClr>
            </a:pPr>
            <a:r>
              <a:rPr lang="en-US" b="1" noProof="0" dirty="0"/>
              <a:t>Digital Signal Processing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Onboard Processing: Reduces redundant transmissions by performing signal processing in the satellite.</a:t>
            </a:r>
          </a:p>
          <a:p>
            <a:pPr lvl="2">
              <a:lnSpc>
                <a:spcPct val="100000"/>
              </a:lnSpc>
              <a:buClr>
                <a:schemeClr val="tx1"/>
              </a:buClr>
            </a:pPr>
            <a:r>
              <a:rPr lang="en-US" noProof="0" dirty="0"/>
              <a:t>AI/ML for Resource Optimization: Predicts traffic and                         dynamically allocates power to active beam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9E3B12-ED8C-EE5B-56EE-56DA5D822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636620" cy="369332"/>
          </a:xfrm>
        </p:spPr>
        <p:txBody>
          <a:bodyPr/>
          <a:lstStyle/>
          <a:p>
            <a:r>
              <a:rPr lang="en-US" sz="2400" noProof="0" dirty="0"/>
              <a:t>Energy Efficiency Considerations in Payload Desig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444CA46-9086-A2AB-879B-251E6E5C06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520" y="2211234"/>
            <a:ext cx="3840480" cy="2435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548145-EDE5-0531-FF9A-7721C299D033}"/>
              </a:ext>
            </a:extLst>
          </p:cNvPr>
          <p:cNvSpPr txBox="1"/>
          <p:nvPr/>
        </p:nvSpPr>
        <p:spPr>
          <a:xfrm>
            <a:off x="1831128" y="3106129"/>
            <a:ext cx="8529744" cy="92333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wrap="square" lIns="91440" tIns="91440" rIns="91440" bIns="91440" rtlCol="0" anchor="ctr" anchorCtr="1">
            <a:spAutoFit/>
          </a:bodyPr>
          <a:lstStyle/>
          <a:p>
            <a:pPr algn="ctr"/>
            <a:r>
              <a:rPr lang="en-US" sz="2400" b="1" noProof="0" dirty="0">
                <a:solidFill>
                  <a:schemeClr val="bg1"/>
                </a:solidFill>
                <a:latin typeface="Aptos" panose="020B0004020202020204" pitchFamily="34" charset="0"/>
              </a:rPr>
              <a:t>Study of Energy Efficiency During Payload Design and Validation is an Important Application Area for Digital Twins.</a:t>
            </a:r>
          </a:p>
        </p:txBody>
      </p:sp>
    </p:spTree>
    <p:extLst>
      <p:ext uri="{BB962C8B-B14F-4D97-AF65-F5344CB8AC3E}">
        <p14:creationId xmlns:p14="http://schemas.microsoft.com/office/powerpoint/2010/main" val="347234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AB72771-C845-AE79-7649-56562496E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2848" y="2480036"/>
            <a:ext cx="4679152" cy="2467521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89B8D1-5A4B-49AA-16AD-C8FF51588C9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5" y="1720052"/>
            <a:ext cx="7202484" cy="3784600"/>
          </a:xfrm>
        </p:spPr>
        <p:txBody>
          <a:bodyPr/>
          <a:lstStyle/>
          <a:p>
            <a:r>
              <a:rPr lang="en-US" sz="1600" b="1" noProof="0" dirty="0"/>
              <a:t>End-to-End Cross-Domain Modeling</a:t>
            </a:r>
          </a:p>
          <a:p>
            <a:pPr lvl="1"/>
            <a:r>
              <a:rPr lang="en-US" sz="1400" noProof="0" dirty="0"/>
              <a:t>Accurately integrate baseband waveforms (3GPP-compliant), RF impairments, phased-array antennas, feeder/service links, and space-channel dynamics within a single executable system model.</a:t>
            </a:r>
          </a:p>
          <a:p>
            <a:r>
              <a:rPr lang="en-US" sz="1600" b="1" noProof="0" dirty="0"/>
              <a:t>High-Fidelity RF Impairment Representation</a:t>
            </a:r>
          </a:p>
          <a:p>
            <a:pPr lvl="1"/>
            <a:r>
              <a:rPr lang="en-US" sz="1400" noProof="0" dirty="0"/>
              <a:t>Support nonlinear power amplifier models (including memory effects), phase noise, I/Q imbalance, frequency offsets, active impedance/load-pull effects, and spectral compliance analysis.</a:t>
            </a:r>
          </a:p>
          <a:p>
            <a:r>
              <a:rPr lang="en-US" sz="1600" b="1" noProof="0" dirty="0"/>
              <a:t>Realistic NTN Channel Modeling</a:t>
            </a:r>
          </a:p>
          <a:p>
            <a:pPr lvl="1"/>
            <a:r>
              <a:rPr lang="en-US" sz="1400" noProof="0" dirty="0"/>
              <a:t>Model large propagation delays, time-varying Doppler shifts, satellite trajectory dynamics, atmospheric attenuation, rain fade, shadowing, and frequency-selective fading aligned with 3GPP NTN assumptions.</a:t>
            </a:r>
          </a:p>
          <a:p>
            <a:r>
              <a:rPr lang="en-US" sz="1600" b="1" noProof="0" dirty="0"/>
              <a:t>Phased-Array &amp; Beamforming Capability</a:t>
            </a:r>
          </a:p>
          <a:p>
            <a:pPr lvl="1"/>
            <a:r>
              <a:rPr lang="en-US" sz="1400" noProof="0" dirty="0"/>
              <a:t>Enable modeling of large-scale arrays, multi-beam payloads, beam quantization, beam hopping, and calibration effects with spatial radiation pattern visualiz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B12DDAE-72C5-76AC-4F26-4C266AE9F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636620" cy="369332"/>
          </a:xfrm>
        </p:spPr>
        <p:txBody>
          <a:bodyPr/>
          <a:lstStyle/>
          <a:p>
            <a:r>
              <a:rPr lang="en-US" noProof="0" dirty="0"/>
              <a:t>What Qualifies a Simulation Tool to be an RF Digital Twin?</a:t>
            </a:r>
          </a:p>
        </p:txBody>
      </p:sp>
    </p:spTree>
    <p:extLst>
      <p:ext uri="{BB962C8B-B14F-4D97-AF65-F5344CB8AC3E}">
        <p14:creationId xmlns:p14="http://schemas.microsoft.com/office/powerpoint/2010/main" val="360960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A06171-2C5C-7917-F9DA-7FEDA0FAC83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sz="1600" b="1" noProof="0" dirty="0"/>
              <a:t>Standards Alignment &amp; KPI Evaluation</a:t>
            </a:r>
          </a:p>
          <a:p>
            <a:pPr lvl="1"/>
            <a:r>
              <a:rPr lang="en-US" sz="1400" noProof="0" dirty="0"/>
              <a:t>Generate and evaluate system-level KPIs such as EVM, SINR, CNR, throughput, latency, availability, and spectral emissions consistent with 3GPP 5G/6G specifications.</a:t>
            </a:r>
          </a:p>
          <a:p>
            <a:r>
              <a:rPr lang="en-US" sz="1600" b="1" noProof="0" dirty="0"/>
              <a:t>Coverage &amp; Link Budget Analysis</a:t>
            </a:r>
          </a:p>
          <a:p>
            <a:pPr lvl="1"/>
            <a:r>
              <a:rPr lang="en-US" sz="1400" noProof="0" dirty="0"/>
              <a:t>Provide Earth-surface CNR/RSSI contour mapping and link margin computation that correlate payload settings with real coverage performance.</a:t>
            </a:r>
          </a:p>
          <a:p>
            <a:r>
              <a:rPr lang="en-US" sz="1600" b="1" noProof="0" dirty="0"/>
              <a:t>Measurement Correlation &amp; Calibration</a:t>
            </a:r>
          </a:p>
          <a:p>
            <a:pPr lvl="1"/>
            <a:r>
              <a:rPr lang="en-US" sz="1400" noProof="0" dirty="0"/>
              <a:t>Allow import of measured device data and support correlation between simulated and physical hardware performance to ensure predictive accuracy.</a:t>
            </a:r>
          </a:p>
          <a:p>
            <a:r>
              <a:rPr lang="en-US" sz="1600" b="1" noProof="0" dirty="0"/>
              <a:t>Scalability &amp; Automation</a:t>
            </a:r>
          </a:p>
          <a:p>
            <a:pPr lvl="1"/>
            <a:r>
              <a:rPr lang="en-US" sz="1400" noProof="0" dirty="0"/>
              <a:t>Support HPC, scripting (e.g., Python APIs), and large parameter sweeps for constellation-level studies and multi-beam optimization.</a:t>
            </a:r>
          </a:p>
          <a:p>
            <a:r>
              <a:rPr lang="en-US" sz="1600" b="1" noProof="0" dirty="0"/>
              <a:t>Hardware-in-the-Loop</a:t>
            </a:r>
            <a:endParaRPr lang="en-US" sz="1600" noProof="0" dirty="0"/>
          </a:p>
          <a:p>
            <a:pPr lvl="1"/>
            <a:r>
              <a:rPr lang="en-US" sz="1400" noProof="0" dirty="0"/>
              <a:t>Enable partial integration with real RF hardware for pre-deployment validation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4BBE42-6D1C-4AFA-9443-697AE4506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hat Qualifies a Simulation Tool to be an RF Digital Twin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67E143-A267-0341-8A2D-DDEC0E7182D5}"/>
              </a:ext>
            </a:extLst>
          </p:cNvPr>
          <p:cNvSpPr txBox="1"/>
          <p:nvPr/>
        </p:nvSpPr>
        <p:spPr>
          <a:xfrm>
            <a:off x="916802" y="3340365"/>
            <a:ext cx="10358396" cy="1107996"/>
          </a:xfrm>
          <a:prstGeom prst="rect">
            <a:avLst/>
          </a:prstGeom>
          <a:solidFill>
            <a:srgbClr val="FF0000"/>
          </a:solidFill>
        </p:spPr>
        <p:txBody>
          <a:bodyPr wrap="square" tIns="91440" bIns="91440" anchor="ctr" anchorCtr="1">
            <a:spAutoFit/>
          </a:bodyPr>
          <a:lstStyle/>
          <a:p>
            <a:pPr algn="ctr"/>
            <a:r>
              <a:rPr lang="en-US" sz="2000" b="1" noProof="0" dirty="0">
                <a:solidFill>
                  <a:schemeClr val="bg1"/>
                </a:solidFill>
              </a:rPr>
              <a:t>An RF digital twin for NTN must be physically realistic, standards-compliant, cross-domain, measurement-anchored, and scalable, capable of predicting real-world performance before hardware deployment.</a:t>
            </a:r>
          </a:p>
        </p:txBody>
      </p:sp>
    </p:spTree>
    <p:extLst>
      <p:ext uri="{BB962C8B-B14F-4D97-AF65-F5344CB8AC3E}">
        <p14:creationId xmlns:p14="http://schemas.microsoft.com/office/powerpoint/2010/main" val="287832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3355B2-86B2-D168-241D-91653A53086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</p:spPr>
        <p:txBody>
          <a:bodyPr/>
          <a:lstStyle/>
          <a:p>
            <a:r>
              <a:rPr lang="en-US" dirty="0"/>
              <a:t>Import and Export Data from/to Keysight and External Hardware and Software Tool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ADC8BA-F638-3496-A628-D992E9C3A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/>
          <a:lstStyle/>
          <a:p>
            <a:r>
              <a:rPr lang="en-US" dirty="0"/>
              <a:t>SystemVue Integrated Workflow</a:t>
            </a:r>
          </a:p>
        </p:txBody>
      </p:sp>
      <p:sp>
        <p:nvSpPr>
          <p:cNvPr id="10" name="Curved Down Arrow 10">
            <a:extLst>
              <a:ext uri="{FF2B5EF4-FFF2-40B4-BE49-F238E27FC236}">
                <a16:creationId xmlns:a16="http://schemas.microsoft.com/office/drawing/2014/main" id="{72AE879C-B5AA-0E7E-1174-5D352B4A3A72}"/>
              </a:ext>
            </a:extLst>
          </p:cNvPr>
          <p:cNvSpPr/>
          <p:nvPr/>
        </p:nvSpPr>
        <p:spPr>
          <a:xfrm>
            <a:off x="2028361" y="2217095"/>
            <a:ext cx="7821163" cy="1981200"/>
          </a:xfrm>
          <a:prstGeom prst="curvedDownArrow">
            <a:avLst>
              <a:gd name="adj1" fmla="val 25000"/>
              <a:gd name="adj2" fmla="val 50000"/>
              <a:gd name="adj3" fmla="val 16312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5025EF-964F-20A2-6E01-398A3CF1284A}"/>
              </a:ext>
            </a:extLst>
          </p:cNvPr>
          <p:cNvSpPr txBox="1"/>
          <p:nvPr/>
        </p:nvSpPr>
        <p:spPr>
          <a:xfrm>
            <a:off x="1317346" y="4198295"/>
            <a:ext cx="2437765" cy="146304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rtlCol="0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Reference Librarie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Aerospace and Defense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Cellular &amp; Connectivity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SatCom, MilCom, Navigation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Coexistence Studies</a:t>
            </a:r>
            <a:endParaRPr lang="en-US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759CA3-BFA5-BFBC-3570-11D9CF6BB574}"/>
              </a:ext>
            </a:extLst>
          </p:cNvPr>
          <p:cNvSpPr txBox="1"/>
          <p:nvPr/>
        </p:nvSpPr>
        <p:spPr>
          <a:xfrm>
            <a:off x="1327643" y="2495122"/>
            <a:ext cx="2529042" cy="92791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 rtlCol="0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Baseband Modeling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MATLAB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C++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Pyth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AECCF5-4D34-A56A-6118-340CC2FADB30}"/>
              </a:ext>
            </a:extLst>
          </p:cNvPr>
          <p:cNvSpPr txBox="1"/>
          <p:nvPr/>
        </p:nvSpPr>
        <p:spPr>
          <a:xfrm>
            <a:off x="4871395" y="2117264"/>
            <a:ext cx="1774011" cy="126772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rtlCol="0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nvironmental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odeling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Noise, loss, latency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Doppler shift, position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Interferer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Networ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C93706E-7612-4044-93E5-0EF9AE70120F}"/>
              </a:ext>
            </a:extLst>
          </p:cNvPr>
          <p:cNvSpPr txBox="1"/>
          <p:nvPr/>
        </p:nvSpPr>
        <p:spPr>
          <a:xfrm>
            <a:off x="7614906" y="2217095"/>
            <a:ext cx="2539335" cy="146304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 rtlCol="0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ccurate RF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Modeling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Native models, DPD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RF chain simulator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X-parameters, DGM</a:t>
            </a:r>
            <a:endParaRPr lang="en-US" sz="1200" b="1" dirty="0"/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Link to Circuit/EM simul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CDCB45-F7F6-8EA9-DD89-EFE57901D5F2}"/>
              </a:ext>
            </a:extLst>
          </p:cNvPr>
          <p:cNvSpPr txBox="1"/>
          <p:nvPr/>
        </p:nvSpPr>
        <p:spPr>
          <a:xfrm>
            <a:off x="7716479" y="4198295"/>
            <a:ext cx="2437765" cy="14630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rtlCol="0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Wideband T&amp;M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Integration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Download waveform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Connect to T&amp;M software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200" dirty="0"/>
              <a:t>Multi-channel 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B1D7ADA-A82F-119B-76CF-C80778C316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210" y="1994721"/>
            <a:ext cx="711015" cy="913371"/>
          </a:xfrm>
          <a:prstGeom prst="rect">
            <a:avLst/>
          </a:prstGeom>
        </p:spPr>
      </p:pic>
      <p:pic>
        <p:nvPicPr>
          <p:cNvPr id="18" name="Picture 17" descr="A close up of a computer&#10;&#10;Description generated with high confidence">
            <a:extLst>
              <a:ext uri="{FF2B5EF4-FFF2-40B4-BE49-F238E27FC236}">
                <a16:creationId xmlns:a16="http://schemas.microsoft.com/office/drawing/2014/main" id="{22CC6622-57D4-A4B4-36C0-4C92E4CECD8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9830" y="5105078"/>
            <a:ext cx="2113312" cy="158294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27499E-7365-A4B9-C244-A7EB46FC88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160" y="4505866"/>
            <a:ext cx="1702246" cy="186172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  <a:effectLst/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5A5A46C-6BCE-884C-5AED-48DE89B6FFBF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4965" y="1699913"/>
            <a:ext cx="1803390" cy="6818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340D28AC-5AB1-9BF9-0B86-CDEB67BD1A86}"/>
              </a:ext>
            </a:extLst>
          </p:cNvPr>
          <p:cNvSpPr>
            <a:spLocks noChangeAspect="1"/>
          </p:cNvSpPr>
          <p:nvPr/>
        </p:nvSpPr>
        <p:spPr>
          <a:xfrm>
            <a:off x="2570881" y="5749734"/>
            <a:ext cx="716467" cy="716467"/>
          </a:xfrm>
          <a:prstGeom prst="ellipse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57150" cmpd="sng">
            <a:noFill/>
          </a:ln>
          <a:effectLst/>
        </p:spPr>
        <p:txBody>
          <a:bodyPr wrap="square" lIns="0" tIns="0" rIns="0" bIns="0" rtlCol="0"/>
          <a:lstStyle/>
          <a:p>
            <a:pPr algn="ctr"/>
            <a:endParaRPr lang="en-US" dirty="0"/>
          </a:p>
        </p:txBody>
      </p:sp>
      <p:pic>
        <p:nvPicPr>
          <p:cNvPr id="22" name="Picture 2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CEE8443-3D8E-9E1C-EF94-A3DA0C7D58F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248" y="1651061"/>
            <a:ext cx="877544" cy="37137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C15A3D8-4CB2-27F5-56A7-658FD25FF291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44983" y="1849628"/>
            <a:ext cx="926840" cy="4078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6" name="Picture 2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39525BC8-03CD-5A82-4260-79F0CC7B9AA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0" t="9315"/>
          <a:stretch/>
        </p:blipFill>
        <p:spPr>
          <a:xfrm>
            <a:off x="5033657" y="1444673"/>
            <a:ext cx="1076695" cy="59004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A9BF688-11F8-5E1F-0CBE-0AEC4B6188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17128" y="3421590"/>
            <a:ext cx="1548347" cy="92466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F00940F-C5D3-0DAB-8304-86DCB30BEA3A}"/>
              </a:ext>
            </a:extLst>
          </p:cNvPr>
          <p:cNvSpPr txBox="1"/>
          <p:nvPr/>
        </p:nvSpPr>
        <p:spPr>
          <a:xfrm>
            <a:off x="6266804" y="3635665"/>
            <a:ext cx="154834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nel Emulation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SIM/GCM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utoShape 2">
            <a:extLst>
              <a:ext uri="{FF2B5EF4-FFF2-40B4-BE49-F238E27FC236}">
                <a16:creationId xmlns:a16="http://schemas.microsoft.com/office/drawing/2014/main" id="{843CA9CF-74B7-C9A7-1D5C-221977EAAC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8393" y="356280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1774B4C-334E-679F-80D5-D2AC57A2E5E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24300"/>
          <a:stretch/>
        </p:blipFill>
        <p:spPr>
          <a:xfrm>
            <a:off x="6311924" y="1560443"/>
            <a:ext cx="989318" cy="376348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BDED636-A2BD-B719-9978-6D9085A8850F}"/>
              </a:ext>
            </a:extLst>
          </p:cNvPr>
          <p:cNvSpPr txBox="1"/>
          <p:nvPr/>
        </p:nvSpPr>
        <p:spPr>
          <a:xfrm>
            <a:off x="5758400" y="1887839"/>
            <a:ext cx="22230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F Channel 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Modele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 descr="People shaking hands">
            <a:extLst>
              <a:ext uri="{FF2B5EF4-FFF2-40B4-BE49-F238E27FC236}">
                <a16:creationId xmlns:a16="http://schemas.microsoft.com/office/drawing/2014/main" id="{70E4CD2A-472D-679E-0F91-AD6B6B90561C}"/>
              </a:ext>
            </a:extLst>
          </p:cNvPr>
          <p:cNvSpPr>
            <a:spLocks noChangeAspect="1"/>
          </p:cNvSpPr>
          <p:nvPr/>
        </p:nvSpPr>
        <p:spPr>
          <a:xfrm>
            <a:off x="1749337" y="5747082"/>
            <a:ext cx="716466" cy="716466"/>
          </a:xfrm>
          <a:prstGeom prst="ellipse">
            <a:avLst/>
          </a:prstGeom>
          <a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6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9D55608-BE1C-BBCB-F2B5-022CE1358D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00338" y="5916420"/>
            <a:ext cx="2062547" cy="29285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6E32271-4529-74CD-FD2F-C25EC6D8866D}"/>
              </a:ext>
            </a:extLst>
          </p:cNvPr>
          <p:cNvSpPr txBox="1"/>
          <p:nvPr/>
        </p:nvSpPr>
        <p:spPr>
          <a:xfrm>
            <a:off x="7200337" y="6179495"/>
            <a:ext cx="20920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Arial"/>
              </a:rPr>
              <a:t>WaveJudg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4" name="Picture 43" descr="A person typing on a computer&#10;&#10;Description automatically generated">
            <a:extLst>
              <a:ext uri="{FF2B5EF4-FFF2-40B4-BE49-F238E27FC236}">
                <a16:creationId xmlns:a16="http://schemas.microsoft.com/office/drawing/2014/main" id="{949512F7-BE7E-FBE7-24AD-1EE746ECF17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2694" y="1266850"/>
            <a:ext cx="446013" cy="384299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72C2EC5D-4C1E-31A3-432A-22EF7F55895F}"/>
              </a:ext>
            </a:extLst>
          </p:cNvPr>
          <p:cNvGrpSpPr/>
          <p:nvPr/>
        </p:nvGrpSpPr>
        <p:grpSpPr>
          <a:xfrm>
            <a:off x="9133963" y="1695601"/>
            <a:ext cx="620881" cy="456961"/>
            <a:chOff x="6792684" y="3342655"/>
            <a:chExt cx="620881" cy="482074"/>
          </a:xfrm>
          <a:solidFill>
            <a:schemeClr val="bg1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5B51D47-A8B3-0553-E4C1-1FD7947558E2}"/>
                </a:ext>
              </a:extLst>
            </p:cNvPr>
            <p:cNvSpPr/>
            <p:nvPr/>
          </p:nvSpPr>
          <p:spPr>
            <a:xfrm>
              <a:off x="6955505" y="3343294"/>
              <a:ext cx="111459" cy="122589"/>
            </a:xfrm>
            <a:custGeom>
              <a:avLst/>
              <a:gdLst>
                <a:gd name="connsiteX0" fmla="*/ 129636 w 247650"/>
                <a:gd name="connsiteY0" fmla="*/ 247145 h 247650"/>
                <a:gd name="connsiteX1" fmla="*/ 124492 w 247650"/>
                <a:gd name="connsiteY1" fmla="*/ 247145 h 247650"/>
                <a:gd name="connsiteX2" fmla="*/ 7174 w 247650"/>
                <a:gd name="connsiteY2" fmla="*/ 124492 h 247650"/>
                <a:gd name="connsiteX3" fmla="*/ 129826 w 247650"/>
                <a:gd name="connsiteY3" fmla="*/ 7174 h 247650"/>
                <a:gd name="connsiteX4" fmla="*/ 247145 w 247650"/>
                <a:gd name="connsiteY4" fmla="*/ 129826 h 247650"/>
                <a:gd name="connsiteX5" fmla="*/ 129826 w 247650"/>
                <a:gd name="connsiteY5" fmla="*/ 247145 h 247650"/>
                <a:gd name="connsiteX6" fmla="*/ 129826 w 247650"/>
                <a:gd name="connsiteY6" fmla="*/ 247145 h 247650"/>
                <a:gd name="connsiteX7" fmla="*/ 129636 w 247650"/>
                <a:gd name="connsiteY7" fmla="*/ 71218 h 247650"/>
                <a:gd name="connsiteX8" fmla="*/ 72550 w 247650"/>
                <a:gd name="connsiteY8" fmla="*/ 131066 h 247650"/>
                <a:gd name="connsiteX9" fmla="*/ 132398 w 247650"/>
                <a:gd name="connsiteY9" fmla="*/ 188152 h 247650"/>
                <a:gd name="connsiteX10" fmla="*/ 189484 w 247650"/>
                <a:gd name="connsiteY10" fmla="*/ 128304 h 247650"/>
                <a:gd name="connsiteX11" fmla="*/ 132398 w 247650"/>
                <a:gd name="connsiteY11" fmla="*/ 71218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650" h="247650">
                  <a:moveTo>
                    <a:pt x="129636" y="247145"/>
                  </a:moveTo>
                  <a:lnTo>
                    <a:pt x="124492" y="247145"/>
                  </a:lnTo>
                  <a:cubicBezTo>
                    <a:pt x="58226" y="245672"/>
                    <a:pt x="5701" y="190758"/>
                    <a:pt x="7174" y="124492"/>
                  </a:cubicBezTo>
                  <a:cubicBezTo>
                    <a:pt x="8647" y="58226"/>
                    <a:pt x="63560" y="5701"/>
                    <a:pt x="129826" y="7174"/>
                  </a:cubicBezTo>
                  <a:cubicBezTo>
                    <a:pt x="196092" y="8647"/>
                    <a:pt x="248618" y="63560"/>
                    <a:pt x="247145" y="129826"/>
                  </a:cubicBezTo>
                  <a:cubicBezTo>
                    <a:pt x="245718" y="194019"/>
                    <a:pt x="194019" y="245718"/>
                    <a:pt x="129826" y="247145"/>
                  </a:cubicBezTo>
                  <a:lnTo>
                    <a:pt x="129826" y="247145"/>
                  </a:lnTo>
                  <a:close/>
                  <a:moveTo>
                    <a:pt x="129636" y="71218"/>
                  </a:moveTo>
                  <a:cubicBezTo>
                    <a:pt x="97345" y="71981"/>
                    <a:pt x="71787" y="98776"/>
                    <a:pt x="72550" y="131066"/>
                  </a:cubicBezTo>
                  <a:cubicBezTo>
                    <a:pt x="73313" y="163357"/>
                    <a:pt x="100108" y="188915"/>
                    <a:pt x="132398" y="188152"/>
                  </a:cubicBezTo>
                  <a:cubicBezTo>
                    <a:pt x="164689" y="187390"/>
                    <a:pt x="190247" y="160595"/>
                    <a:pt x="189484" y="128304"/>
                  </a:cubicBezTo>
                  <a:cubicBezTo>
                    <a:pt x="188747" y="97087"/>
                    <a:pt x="163615" y="71955"/>
                    <a:pt x="132398" y="7121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65C359FC-CBA9-68AE-09AE-8661D32227DB}"/>
                </a:ext>
              </a:extLst>
            </p:cNvPr>
            <p:cNvSpPr/>
            <p:nvPr/>
          </p:nvSpPr>
          <p:spPr>
            <a:xfrm>
              <a:off x="6959792" y="3532467"/>
              <a:ext cx="107172" cy="117874"/>
            </a:xfrm>
            <a:custGeom>
              <a:avLst/>
              <a:gdLst>
                <a:gd name="connsiteX0" fmla="*/ 121444 w 238125"/>
                <a:gd name="connsiteY0" fmla="*/ 235744 h 238125"/>
                <a:gd name="connsiteX1" fmla="*/ 7144 w 238125"/>
                <a:gd name="connsiteY1" fmla="*/ 121444 h 238125"/>
                <a:gd name="connsiteX2" fmla="*/ 121444 w 238125"/>
                <a:gd name="connsiteY2" fmla="*/ 7144 h 238125"/>
                <a:gd name="connsiteX3" fmla="*/ 235744 w 238125"/>
                <a:gd name="connsiteY3" fmla="*/ 121444 h 238125"/>
                <a:gd name="connsiteX4" fmla="*/ 121444 w 238125"/>
                <a:gd name="connsiteY4" fmla="*/ 235744 h 238125"/>
                <a:gd name="connsiteX5" fmla="*/ 121444 w 238125"/>
                <a:gd name="connsiteY5" fmla="*/ 59722 h 238125"/>
                <a:gd name="connsiteX6" fmla="*/ 60103 w 238125"/>
                <a:gd name="connsiteY6" fmla="*/ 121063 h 238125"/>
                <a:gd name="connsiteX7" fmla="*/ 121444 w 238125"/>
                <a:gd name="connsiteY7" fmla="*/ 182404 h 238125"/>
                <a:gd name="connsiteX8" fmla="*/ 182785 w 238125"/>
                <a:gd name="connsiteY8" fmla="*/ 121063 h 238125"/>
                <a:gd name="connsiteX9" fmla="*/ 182785 w 238125"/>
                <a:gd name="connsiteY9" fmla="*/ 121063 h 238125"/>
                <a:gd name="connsiteX10" fmla="*/ 121444 w 238125"/>
                <a:gd name="connsiteY10" fmla="*/ 5972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21444" y="235744"/>
                  </a:moveTo>
                  <a:cubicBezTo>
                    <a:pt x="58318" y="235744"/>
                    <a:pt x="7144" y="184570"/>
                    <a:pt x="7144" y="121444"/>
                  </a:cubicBezTo>
                  <a:cubicBezTo>
                    <a:pt x="7144" y="58318"/>
                    <a:pt x="58318" y="7144"/>
                    <a:pt x="121444" y="7144"/>
                  </a:cubicBezTo>
                  <a:cubicBezTo>
                    <a:pt x="184570" y="7144"/>
                    <a:pt x="235744" y="58318"/>
                    <a:pt x="235744" y="121444"/>
                  </a:cubicBezTo>
                  <a:cubicBezTo>
                    <a:pt x="235744" y="184570"/>
                    <a:pt x="184570" y="235744"/>
                    <a:pt x="121444" y="235744"/>
                  </a:cubicBezTo>
                  <a:close/>
                  <a:moveTo>
                    <a:pt x="121444" y="59722"/>
                  </a:moveTo>
                  <a:cubicBezTo>
                    <a:pt x="87566" y="59722"/>
                    <a:pt x="60103" y="87185"/>
                    <a:pt x="60103" y="121063"/>
                  </a:cubicBezTo>
                  <a:cubicBezTo>
                    <a:pt x="60103" y="154941"/>
                    <a:pt x="87566" y="182404"/>
                    <a:pt x="121444" y="182404"/>
                  </a:cubicBezTo>
                  <a:cubicBezTo>
                    <a:pt x="155321" y="182404"/>
                    <a:pt x="182785" y="154941"/>
                    <a:pt x="182785" y="121063"/>
                  </a:cubicBezTo>
                  <a:lnTo>
                    <a:pt x="182785" y="121063"/>
                  </a:lnTo>
                  <a:cubicBezTo>
                    <a:pt x="182680" y="87229"/>
                    <a:pt x="155278" y="59826"/>
                    <a:pt x="121444" y="5972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6828084-94F3-1FBE-4F1A-FCD9861B7264}"/>
                </a:ext>
              </a:extLst>
            </p:cNvPr>
            <p:cNvSpPr/>
            <p:nvPr/>
          </p:nvSpPr>
          <p:spPr>
            <a:xfrm>
              <a:off x="6951064" y="3706855"/>
              <a:ext cx="107172" cy="117874"/>
            </a:xfrm>
            <a:custGeom>
              <a:avLst/>
              <a:gdLst>
                <a:gd name="connsiteX0" fmla="*/ 116016 w 238125"/>
                <a:gd name="connsiteY0" fmla="*/ 232442 h 238125"/>
                <a:gd name="connsiteX1" fmla="*/ 7209 w 238125"/>
                <a:gd name="connsiteY1" fmla="*/ 116016 h 238125"/>
                <a:gd name="connsiteX2" fmla="*/ 123636 w 238125"/>
                <a:gd name="connsiteY2" fmla="*/ 7209 h 238125"/>
                <a:gd name="connsiteX3" fmla="*/ 232442 w 238125"/>
                <a:gd name="connsiteY3" fmla="*/ 123636 h 238125"/>
                <a:gd name="connsiteX4" fmla="*/ 123636 w 238125"/>
                <a:gd name="connsiteY4" fmla="*/ 232442 h 238125"/>
                <a:gd name="connsiteX5" fmla="*/ 116016 w 238125"/>
                <a:gd name="connsiteY5" fmla="*/ 56515 h 238125"/>
                <a:gd name="connsiteX6" fmla="*/ 111920 w 238125"/>
                <a:gd name="connsiteY6" fmla="*/ 56515 h 238125"/>
                <a:gd name="connsiteX7" fmla="*/ 52947 w 238125"/>
                <a:gd name="connsiteY7" fmla="*/ 119584 h 238125"/>
                <a:gd name="connsiteX8" fmla="*/ 116016 w 238125"/>
                <a:gd name="connsiteY8" fmla="*/ 178557 h 238125"/>
                <a:gd name="connsiteX9" fmla="*/ 174989 w 238125"/>
                <a:gd name="connsiteY9" fmla="*/ 115488 h 238125"/>
                <a:gd name="connsiteX10" fmla="*/ 116016 w 238125"/>
                <a:gd name="connsiteY10" fmla="*/ 565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16016" y="232442"/>
                  </a:moveTo>
                  <a:cubicBezTo>
                    <a:pt x="53819" y="230338"/>
                    <a:pt x="5105" y="178212"/>
                    <a:pt x="7209" y="116016"/>
                  </a:cubicBezTo>
                  <a:cubicBezTo>
                    <a:pt x="9314" y="53819"/>
                    <a:pt x="61439" y="5105"/>
                    <a:pt x="123636" y="7209"/>
                  </a:cubicBezTo>
                  <a:cubicBezTo>
                    <a:pt x="185832" y="9314"/>
                    <a:pt x="234546" y="61439"/>
                    <a:pt x="232442" y="123636"/>
                  </a:cubicBezTo>
                  <a:cubicBezTo>
                    <a:pt x="230438" y="182878"/>
                    <a:pt x="182878" y="230438"/>
                    <a:pt x="123636" y="232442"/>
                  </a:cubicBezTo>
                  <a:close/>
                  <a:moveTo>
                    <a:pt x="116016" y="56515"/>
                  </a:moveTo>
                  <a:lnTo>
                    <a:pt x="111920" y="56515"/>
                  </a:lnTo>
                  <a:cubicBezTo>
                    <a:pt x="78219" y="57646"/>
                    <a:pt x="51816" y="85883"/>
                    <a:pt x="52947" y="119584"/>
                  </a:cubicBezTo>
                  <a:cubicBezTo>
                    <a:pt x="54078" y="153285"/>
                    <a:pt x="82315" y="179688"/>
                    <a:pt x="116016" y="178557"/>
                  </a:cubicBezTo>
                  <a:cubicBezTo>
                    <a:pt x="149717" y="177426"/>
                    <a:pt x="176120" y="149189"/>
                    <a:pt x="174989" y="115488"/>
                  </a:cubicBezTo>
                  <a:cubicBezTo>
                    <a:pt x="173911" y="83375"/>
                    <a:pt x="148129" y="57593"/>
                    <a:pt x="116016" y="56515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EAEFC3D-C0FB-9445-7C5F-1D7057D73307}"/>
                </a:ext>
              </a:extLst>
            </p:cNvPr>
            <p:cNvSpPr/>
            <p:nvPr/>
          </p:nvSpPr>
          <p:spPr>
            <a:xfrm>
              <a:off x="7134998" y="3342655"/>
              <a:ext cx="111459" cy="122589"/>
            </a:xfrm>
            <a:custGeom>
              <a:avLst/>
              <a:gdLst>
                <a:gd name="connsiteX0" fmla="*/ 129636 w 247650"/>
                <a:gd name="connsiteY0" fmla="*/ 247145 h 247650"/>
                <a:gd name="connsiteX1" fmla="*/ 124492 w 247650"/>
                <a:gd name="connsiteY1" fmla="*/ 247145 h 247650"/>
                <a:gd name="connsiteX2" fmla="*/ 7174 w 247650"/>
                <a:gd name="connsiteY2" fmla="*/ 124492 h 247650"/>
                <a:gd name="connsiteX3" fmla="*/ 129826 w 247650"/>
                <a:gd name="connsiteY3" fmla="*/ 7174 h 247650"/>
                <a:gd name="connsiteX4" fmla="*/ 247145 w 247650"/>
                <a:gd name="connsiteY4" fmla="*/ 129826 h 247650"/>
                <a:gd name="connsiteX5" fmla="*/ 129826 w 247650"/>
                <a:gd name="connsiteY5" fmla="*/ 247145 h 247650"/>
                <a:gd name="connsiteX6" fmla="*/ 129826 w 247650"/>
                <a:gd name="connsiteY6" fmla="*/ 247145 h 247650"/>
                <a:gd name="connsiteX7" fmla="*/ 129636 w 247650"/>
                <a:gd name="connsiteY7" fmla="*/ 71218 h 247650"/>
                <a:gd name="connsiteX8" fmla="*/ 72550 w 247650"/>
                <a:gd name="connsiteY8" fmla="*/ 131066 h 247650"/>
                <a:gd name="connsiteX9" fmla="*/ 132398 w 247650"/>
                <a:gd name="connsiteY9" fmla="*/ 188152 h 247650"/>
                <a:gd name="connsiteX10" fmla="*/ 189484 w 247650"/>
                <a:gd name="connsiteY10" fmla="*/ 128304 h 247650"/>
                <a:gd name="connsiteX11" fmla="*/ 132398 w 247650"/>
                <a:gd name="connsiteY11" fmla="*/ 71218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650" h="247650">
                  <a:moveTo>
                    <a:pt x="129636" y="247145"/>
                  </a:moveTo>
                  <a:lnTo>
                    <a:pt x="124492" y="247145"/>
                  </a:lnTo>
                  <a:cubicBezTo>
                    <a:pt x="58226" y="245672"/>
                    <a:pt x="5701" y="190758"/>
                    <a:pt x="7174" y="124492"/>
                  </a:cubicBezTo>
                  <a:cubicBezTo>
                    <a:pt x="8647" y="58226"/>
                    <a:pt x="63560" y="5701"/>
                    <a:pt x="129826" y="7174"/>
                  </a:cubicBezTo>
                  <a:cubicBezTo>
                    <a:pt x="196092" y="8647"/>
                    <a:pt x="248618" y="63560"/>
                    <a:pt x="247145" y="129826"/>
                  </a:cubicBezTo>
                  <a:cubicBezTo>
                    <a:pt x="245718" y="194019"/>
                    <a:pt x="194019" y="245718"/>
                    <a:pt x="129826" y="247145"/>
                  </a:cubicBezTo>
                  <a:lnTo>
                    <a:pt x="129826" y="247145"/>
                  </a:lnTo>
                  <a:close/>
                  <a:moveTo>
                    <a:pt x="129636" y="71218"/>
                  </a:moveTo>
                  <a:cubicBezTo>
                    <a:pt x="97345" y="71981"/>
                    <a:pt x="71787" y="98776"/>
                    <a:pt x="72550" y="131066"/>
                  </a:cubicBezTo>
                  <a:cubicBezTo>
                    <a:pt x="73313" y="163357"/>
                    <a:pt x="100108" y="188915"/>
                    <a:pt x="132398" y="188152"/>
                  </a:cubicBezTo>
                  <a:cubicBezTo>
                    <a:pt x="164689" y="187390"/>
                    <a:pt x="190247" y="160595"/>
                    <a:pt x="189484" y="128304"/>
                  </a:cubicBezTo>
                  <a:cubicBezTo>
                    <a:pt x="188747" y="97087"/>
                    <a:pt x="163615" y="71955"/>
                    <a:pt x="132398" y="7121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0B354C9-6B83-D0CA-157E-1A624CEABFB8}"/>
                </a:ext>
              </a:extLst>
            </p:cNvPr>
            <p:cNvSpPr/>
            <p:nvPr/>
          </p:nvSpPr>
          <p:spPr>
            <a:xfrm>
              <a:off x="7139285" y="3531828"/>
              <a:ext cx="107172" cy="117874"/>
            </a:xfrm>
            <a:custGeom>
              <a:avLst/>
              <a:gdLst>
                <a:gd name="connsiteX0" fmla="*/ 121444 w 238125"/>
                <a:gd name="connsiteY0" fmla="*/ 235744 h 238125"/>
                <a:gd name="connsiteX1" fmla="*/ 7144 w 238125"/>
                <a:gd name="connsiteY1" fmla="*/ 121444 h 238125"/>
                <a:gd name="connsiteX2" fmla="*/ 121444 w 238125"/>
                <a:gd name="connsiteY2" fmla="*/ 7144 h 238125"/>
                <a:gd name="connsiteX3" fmla="*/ 235744 w 238125"/>
                <a:gd name="connsiteY3" fmla="*/ 121444 h 238125"/>
                <a:gd name="connsiteX4" fmla="*/ 121444 w 238125"/>
                <a:gd name="connsiteY4" fmla="*/ 235744 h 238125"/>
                <a:gd name="connsiteX5" fmla="*/ 121444 w 238125"/>
                <a:gd name="connsiteY5" fmla="*/ 59722 h 238125"/>
                <a:gd name="connsiteX6" fmla="*/ 60103 w 238125"/>
                <a:gd name="connsiteY6" fmla="*/ 121063 h 238125"/>
                <a:gd name="connsiteX7" fmla="*/ 121444 w 238125"/>
                <a:gd name="connsiteY7" fmla="*/ 182404 h 238125"/>
                <a:gd name="connsiteX8" fmla="*/ 182785 w 238125"/>
                <a:gd name="connsiteY8" fmla="*/ 121063 h 238125"/>
                <a:gd name="connsiteX9" fmla="*/ 182785 w 238125"/>
                <a:gd name="connsiteY9" fmla="*/ 121063 h 238125"/>
                <a:gd name="connsiteX10" fmla="*/ 121444 w 238125"/>
                <a:gd name="connsiteY10" fmla="*/ 5972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21444" y="235744"/>
                  </a:moveTo>
                  <a:cubicBezTo>
                    <a:pt x="58318" y="235744"/>
                    <a:pt x="7144" y="184570"/>
                    <a:pt x="7144" y="121444"/>
                  </a:cubicBezTo>
                  <a:cubicBezTo>
                    <a:pt x="7144" y="58318"/>
                    <a:pt x="58318" y="7144"/>
                    <a:pt x="121444" y="7144"/>
                  </a:cubicBezTo>
                  <a:cubicBezTo>
                    <a:pt x="184570" y="7144"/>
                    <a:pt x="235744" y="58318"/>
                    <a:pt x="235744" y="121444"/>
                  </a:cubicBezTo>
                  <a:cubicBezTo>
                    <a:pt x="235744" y="184570"/>
                    <a:pt x="184570" y="235744"/>
                    <a:pt x="121444" y="235744"/>
                  </a:cubicBezTo>
                  <a:close/>
                  <a:moveTo>
                    <a:pt x="121444" y="59722"/>
                  </a:moveTo>
                  <a:cubicBezTo>
                    <a:pt x="87566" y="59722"/>
                    <a:pt x="60103" y="87185"/>
                    <a:pt x="60103" y="121063"/>
                  </a:cubicBezTo>
                  <a:cubicBezTo>
                    <a:pt x="60103" y="154941"/>
                    <a:pt x="87566" y="182404"/>
                    <a:pt x="121444" y="182404"/>
                  </a:cubicBezTo>
                  <a:cubicBezTo>
                    <a:pt x="155321" y="182404"/>
                    <a:pt x="182785" y="154941"/>
                    <a:pt x="182785" y="121063"/>
                  </a:cubicBezTo>
                  <a:lnTo>
                    <a:pt x="182785" y="121063"/>
                  </a:lnTo>
                  <a:cubicBezTo>
                    <a:pt x="182680" y="87229"/>
                    <a:pt x="155278" y="59826"/>
                    <a:pt x="121444" y="5972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4437EEA-F87F-077A-2C8C-7E54AA07938F}"/>
                </a:ext>
              </a:extLst>
            </p:cNvPr>
            <p:cNvSpPr/>
            <p:nvPr/>
          </p:nvSpPr>
          <p:spPr>
            <a:xfrm>
              <a:off x="7139285" y="3706855"/>
              <a:ext cx="107172" cy="117874"/>
            </a:xfrm>
            <a:custGeom>
              <a:avLst/>
              <a:gdLst>
                <a:gd name="connsiteX0" fmla="*/ 116016 w 238125"/>
                <a:gd name="connsiteY0" fmla="*/ 232442 h 238125"/>
                <a:gd name="connsiteX1" fmla="*/ 7209 w 238125"/>
                <a:gd name="connsiteY1" fmla="*/ 116016 h 238125"/>
                <a:gd name="connsiteX2" fmla="*/ 123636 w 238125"/>
                <a:gd name="connsiteY2" fmla="*/ 7209 h 238125"/>
                <a:gd name="connsiteX3" fmla="*/ 232442 w 238125"/>
                <a:gd name="connsiteY3" fmla="*/ 123636 h 238125"/>
                <a:gd name="connsiteX4" fmla="*/ 123636 w 238125"/>
                <a:gd name="connsiteY4" fmla="*/ 232442 h 238125"/>
                <a:gd name="connsiteX5" fmla="*/ 116016 w 238125"/>
                <a:gd name="connsiteY5" fmla="*/ 56515 h 238125"/>
                <a:gd name="connsiteX6" fmla="*/ 111920 w 238125"/>
                <a:gd name="connsiteY6" fmla="*/ 56515 h 238125"/>
                <a:gd name="connsiteX7" fmla="*/ 52947 w 238125"/>
                <a:gd name="connsiteY7" fmla="*/ 119584 h 238125"/>
                <a:gd name="connsiteX8" fmla="*/ 116016 w 238125"/>
                <a:gd name="connsiteY8" fmla="*/ 178557 h 238125"/>
                <a:gd name="connsiteX9" fmla="*/ 174989 w 238125"/>
                <a:gd name="connsiteY9" fmla="*/ 115488 h 238125"/>
                <a:gd name="connsiteX10" fmla="*/ 116016 w 238125"/>
                <a:gd name="connsiteY10" fmla="*/ 565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16016" y="232442"/>
                  </a:moveTo>
                  <a:cubicBezTo>
                    <a:pt x="53819" y="230338"/>
                    <a:pt x="5105" y="178212"/>
                    <a:pt x="7209" y="116016"/>
                  </a:cubicBezTo>
                  <a:cubicBezTo>
                    <a:pt x="9314" y="53819"/>
                    <a:pt x="61439" y="5105"/>
                    <a:pt x="123636" y="7209"/>
                  </a:cubicBezTo>
                  <a:cubicBezTo>
                    <a:pt x="185832" y="9314"/>
                    <a:pt x="234546" y="61439"/>
                    <a:pt x="232442" y="123636"/>
                  </a:cubicBezTo>
                  <a:cubicBezTo>
                    <a:pt x="230438" y="182878"/>
                    <a:pt x="182878" y="230438"/>
                    <a:pt x="123636" y="232442"/>
                  </a:cubicBezTo>
                  <a:close/>
                  <a:moveTo>
                    <a:pt x="116016" y="56515"/>
                  </a:moveTo>
                  <a:lnTo>
                    <a:pt x="111920" y="56515"/>
                  </a:lnTo>
                  <a:cubicBezTo>
                    <a:pt x="78219" y="57646"/>
                    <a:pt x="51816" y="85883"/>
                    <a:pt x="52947" y="119584"/>
                  </a:cubicBezTo>
                  <a:cubicBezTo>
                    <a:pt x="54078" y="153285"/>
                    <a:pt x="82315" y="179688"/>
                    <a:pt x="116016" y="178557"/>
                  </a:cubicBezTo>
                  <a:cubicBezTo>
                    <a:pt x="149717" y="177426"/>
                    <a:pt x="176120" y="149189"/>
                    <a:pt x="174989" y="115488"/>
                  </a:cubicBezTo>
                  <a:cubicBezTo>
                    <a:pt x="173911" y="83375"/>
                    <a:pt x="148129" y="57593"/>
                    <a:pt x="116016" y="56515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F065D4-687D-79EA-602F-A1AF23B965F3}"/>
                </a:ext>
              </a:extLst>
            </p:cNvPr>
            <p:cNvSpPr/>
            <p:nvPr/>
          </p:nvSpPr>
          <p:spPr>
            <a:xfrm>
              <a:off x="6792684" y="3456556"/>
              <a:ext cx="107172" cy="117874"/>
            </a:xfrm>
            <a:custGeom>
              <a:avLst/>
              <a:gdLst>
                <a:gd name="connsiteX0" fmla="*/ 121444 w 238125"/>
                <a:gd name="connsiteY0" fmla="*/ 235744 h 238125"/>
                <a:gd name="connsiteX1" fmla="*/ 7144 w 238125"/>
                <a:gd name="connsiteY1" fmla="*/ 121444 h 238125"/>
                <a:gd name="connsiteX2" fmla="*/ 121444 w 238125"/>
                <a:gd name="connsiteY2" fmla="*/ 7144 h 238125"/>
                <a:gd name="connsiteX3" fmla="*/ 235744 w 238125"/>
                <a:gd name="connsiteY3" fmla="*/ 121444 h 238125"/>
                <a:gd name="connsiteX4" fmla="*/ 121444 w 238125"/>
                <a:gd name="connsiteY4" fmla="*/ 235744 h 238125"/>
                <a:gd name="connsiteX5" fmla="*/ 121444 w 238125"/>
                <a:gd name="connsiteY5" fmla="*/ 59722 h 238125"/>
                <a:gd name="connsiteX6" fmla="*/ 60103 w 238125"/>
                <a:gd name="connsiteY6" fmla="*/ 121063 h 238125"/>
                <a:gd name="connsiteX7" fmla="*/ 121444 w 238125"/>
                <a:gd name="connsiteY7" fmla="*/ 182404 h 238125"/>
                <a:gd name="connsiteX8" fmla="*/ 182785 w 238125"/>
                <a:gd name="connsiteY8" fmla="*/ 121063 h 238125"/>
                <a:gd name="connsiteX9" fmla="*/ 182785 w 238125"/>
                <a:gd name="connsiteY9" fmla="*/ 121063 h 238125"/>
                <a:gd name="connsiteX10" fmla="*/ 121444 w 238125"/>
                <a:gd name="connsiteY10" fmla="*/ 5972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21444" y="235744"/>
                  </a:moveTo>
                  <a:cubicBezTo>
                    <a:pt x="58318" y="235744"/>
                    <a:pt x="7144" y="184570"/>
                    <a:pt x="7144" y="121444"/>
                  </a:cubicBezTo>
                  <a:cubicBezTo>
                    <a:pt x="7144" y="58318"/>
                    <a:pt x="58318" y="7144"/>
                    <a:pt x="121444" y="7144"/>
                  </a:cubicBezTo>
                  <a:cubicBezTo>
                    <a:pt x="184570" y="7144"/>
                    <a:pt x="235744" y="58318"/>
                    <a:pt x="235744" y="121444"/>
                  </a:cubicBezTo>
                  <a:cubicBezTo>
                    <a:pt x="235744" y="184570"/>
                    <a:pt x="184570" y="235744"/>
                    <a:pt x="121444" y="235744"/>
                  </a:cubicBezTo>
                  <a:close/>
                  <a:moveTo>
                    <a:pt x="121444" y="59722"/>
                  </a:moveTo>
                  <a:cubicBezTo>
                    <a:pt x="87566" y="59722"/>
                    <a:pt x="60103" y="87185"/>
                    <a:pt x="60103" y="121063"/>
                  </a:cubicBezTo>
                  <a:cubicBezTo>
                    <a:pt x="60103" y="154941"/>
                    <a:pt x="87566" y="182404"/>
                    <a:pt x="121444" y="182404"/>
                  </a:cubicBezTo>
                  <a:cubicBezTo>
                    <a:pt x="155321" y="182404"/>
                    <a:pt x="182785" y="154941"/>
                    <a:pt x="182785" y="121063"/>
                  </a:cubicBezTo>
                  <a:lnTo>
                    <a:pt x="182785" y="121063"/>
                  </a:lnTo>
                  <a:cubicBezTo>
                    <a:pt x="182680" y="87229"/>
                    <a:pt x="155278" y="59826"/>
                    <a:pt x="121444" y="5972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F50C596-F2AF-E268-6F88-CC12ECD2F7E7}"/>
                </a:ext>
              </a:extLst>
            </p:cNvPr>
            <p:cNvSpPr/>
            <p:nvPr/>
          </p:nvSpPr>
          <p:spPr>
            <a:xfrm>
              <a:off x="6792684" y="3617297"/>
              <a:ext cx="107172" cy="117874"/>
            </a:xfrm>
            <a:custGeom>
              <a:avLst/>
              <a:gdLst>
                <a:gd name="connsiteX0" fmla="*/ 116016 w 238125"/>
                <a:gd name="connsiteY0" fmla="*/ 232442 h 238125"/>
                <a:gd name="connsiteX1" fmla="*/ 7209 w 238125"/>
                <a:gd name="connsiteY1" fmla="*/ 116016 h 238125"/>
                <a:gd name="connsiteX2" fmla="*/ 123636 w 238125"/>
                <a:gd name="connsiteY2" fmla="*/ 7209 h 238125"/>
                <a:gd name="connsiteX3" fmla="*/ 232442 w 238125"/>
                <a:gd name="connsiteY3" fmla="*/ 123636 h 238125"/>
                <a:gd name="connsiteX4" fmla="*/ 123636 w 238125"/>
                <a:gd name="connsiteY4" fmla="*/ 232442 h 238125"/>
                <a:gd name="connsiteX5" fmla="*/ 116016 w 238125"/>
                <a:gd name="connsiteY5" fmla="*/ 56515 h 238125"/>
                <a:gd name="connsiteX6" fmla="*/ 111920 w 238125"/>
                <a:gd name="connsiteY6" fmla="*/ 56515 h 238125"/>
                <a:gd name="connsiteX7" fmla="*/ 52947 w 238125"/>
                <a:gd name="connsiteY7" fmla="*/ 119584 h 238125"/>
                <a:gd name="connsiteX8" fmla="*/ 116016 w 238125"/>
                <a:gd name="connsiteY8" fmla="*/ 178557 h 238125"/>
                <a:gd name="connsiteX9" fmla="*/ 174989 w 238125"/>
                <a:gd name="connsiteY9" fmla="*/ 115488 h 238125"/>
                <a:gd name="connsiteX10" fmla="*/ 116016 w 238125"/>
                <a:gd name="connsiteY10" fmla="*/ 565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16016" y="232442"/>
                  </a:moveTo>
                  <a:cubicBezTo>
                    <a:pt x="53819" y="230338"/>
                    <a:pt x="5105" y="178212"/>
                    <a:pt x="7209" y="116016"/>
                  </a:cubicBezTo>
                  <a:cubicBezTo>
                    <a:pt x="9314" y="53819"/>
                    <a:pt x="61439" y="5105"/>
                    <a:pt x="123636" y="7209"/>
                  </a:cubicBezTo>
                  <a:cubicBezTo>
                    <a:pt x="185832" y="9314"/>
                    <a:pt x="234546" y="61439"/>
                    <a:pt x="232442" y="123636"/>
                  </a:cubicBezTo>
                  <a:cubicBezTo>
                    <a:pt x="230438" y="182878"/>
                    <a:pt x="182878" y="230438"/>
                    <a:pt x="123636" y="232442"/>
                  </a:cubicBezTo>
                  <a:close/>
                  <a:moveTo>
                    <a:pt x="116016" y="56515"/>
                  </a:moveTo>
                  <a:lnTo>
                    <a:pt x="111920" y="56515"/>
                  </a:lnTo>
                  <a:cubicBezTo>
                    <a:pt x="78219" y="57646"/>
                    <a:pt x="51816" y="85883"/>
                    <a:pt x="52947" y="119584"/>
                  </a:cubicBezTo>
                  <a:cubicBezTo>
                    <a:pt x="54078" y="153285"/>
                    <a:pt x="82315" y="179688"/>
                    <a:pt x="116016" y="178557"/>
                  </a:cubicBezTo>
                  <a:cubicBezTo>
                    <a:pt x="149717" y="177426"/>
                    <a:pt x="176120" y="149189"/>
                    <a:pt x="174989" y="115488"/>
                  </a:cubicBezTo>
                  <a:cubicBezTo>
                    <a:pt x="173911" y="83375"/>
                    <a:pt x="148129" y="57593"/>
                    <a:pt x="116016" y="56515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0FC4AC2-AEE1-6CB3-F4FF-C7BB673E1696}"/>
                </a:ext>
              </a:extLst>
            </p:cNvPr>
            <p:cNvSpPr/>
            <p:nvPr/>
          </p:nvSpPr>
          <p:spPr>
            <a:xfrm>
              <a:off x="7306393" y="3467772"/>
              <a:ext cx="107172" cy="117874"/>
            </a:xfrm>
            <a:custGeom>
              <a:avLst/>
              <a:gdLst>
                <a:gd name="connsiteX0" fmla="*/ 121444 w 238125"/>
                <a:gd name="connsiteY0" fmla="*/ 235744 h 238125"/>
                <a:gd name="connsiteX1" fmla="*/ 7144 w 238125"/>
                <a:gd name="connsiteY1" fmla="*/ 121444 h 238125"/>
                <a:gd name="connsiteX2" fmla="*/ 121444 w 238125"/>
                <a:gd name="connsiteY2" fmla="*/ 7144 h 238125"/>
                <a:gd name="connsiteX3" fmla="*/ 235744 w 238125"/>
                <a:gd name="connsiteY3" fmla="*/ 121444 h 238125"/>
                <a:gd name="connsiteX4" fmla="*/ 121444 w 238125"/>
                <a:gd name="connsiteY4" fmla="*/ 235744 h 238125"/>
                <a:gd name="connsiteX5" fmla="*/ 121444 w 238125"/>
                <a:gd name="connsiteY5" fmla="*/ 59722 h 238125"/>
                <a:gd name="connsiteX6" fmla="*/ 60103 w 238125"/>
                <a:gd name="connsiteY6" fmla="*/ 121063 h 238125"/>
                <a:gd name="connsiteX7" fmla="*/ 121444 w 238125"/>
                <a:gd name="connsiteY7" fmla="*/ 182404 h 238125"/>
                <a:gd name="connsiteX8" fmla="*/ 182785 w 238125"/>
                <a:gd name="connsiteY8" fmla="*/ 121063 h 238125"/>
                <a:gd name="connsiteX9" fmla="*/ 182785 w 238125"/>
                <a:gd name="connsiteY9" fmla="*/ 121063 h 238125"/>
                <a:gd name="connsiteX10" fmla="*/ 121444 w 238125"/>
                <a:gd name="connsiteY10" fmla="*/ 5972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21444" y="235744"/>
                  </a:moveTo>
                  <a:cubicBezTo>
                    <a:pt x="58318" y="235744"/>
                    <a:pt x="7144" y="184570"/>
                    <a:pt x="7144" y="121444"/>
                  </a:cubicBezTo>
                  <a:cubicBezTo>
                    <a:pt x="7144" y="58318"/>
                    <a:pt x="58318" y="7144"/>
                    <a:pt x="121444" y="7144"/>
                  </a:cubicBezTo>
                  <a:cubicBezTo>
                    <a:pt x="184570" y="7144"/>
                    <a:pt x="235744" y="58318"/>
                    <a:pt x="235744" y="121444"/>
                  </a:cubicBezTo>
                  <a:cubicBezTo>
                    <a:pt x="235744" y="184570"/>
                    <a:pt x="184570" y="235744"/>
                    <a:pt x="121444" y="235744"/>
                  </a:cubicBezTo>
                  <a:close/>
                  <a:moveTo>
                    <a:pt x="121444" y="59722"/>
                  </a:moveTo>
                  <a:cubicBezTo>
                    <a:pt x="87566" y="59722"/>
                    <a:pt x="60103" y="87185"/>
                    <a:pt x="60103" y="121063"/>
                  </a:cubicBezTo>
                  <a:cubicBezTo>
                    <a:pt x="60103" y="154941"/>
                    <a:pt x="87566" y="182404"/>
                    <a:pt x="121444" y="182404"/>
                  </a:cubicBezTo>
                  <a:cubicBezTo>
                    <a:pt x="155321" y="182404"/>
                    <a:pt x="182785" y="154941"/>
                    <a:pt x="182785" y="121063"/>
                  </a:cubicBezTo>
                  <a:lnTo>
                    <a:pt x="182785" y="121063"/>
                  </a:lnTo>
                  <a:cubicBezTo>
                    <a:pt x="182680" y="87229"/>
                    <a:pt x="155278" y="59826"/>
                    <a:pt x="121444" y="5972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FAFFAEE-234C-E9BC-37C7-0B2D2D98F3B9}"/>
                </a:ext>
              </a:extLst>
            </p:cNvPr>
            <p:cNvSpPr/>
            <p:nvPr/>
          </p:nvSpPr>
          <p:spPr>
            <a:xfrm>
              <a:off x="7306393" y="3628513"/>
              <a:ext cx="107172" cy="117874"/>
            </a:xfrm>
            <a:custGeom>
              <a:avLst/>
              <a:gdLst>
                <a:gd name="connsiteX0" fmla="*/ 116016 w 238125"/>
                <a:gd name="connsiteY0" fmla="*/ 232442 h 238125"/>
                <a:gd name="connsiteX1" fmla="*/ 7209 w 238125"/>
                <a:gd name="connsiteY1" fmla="*/ 116016 h 238125"/>
                <a:gd name="connsiteX2" fmla="*/ 123636 w 238125"/>
                <a:gd name="connsiteY2" fmla="*/ 7209 h 238125"/>
                <a:gd name="connsiteX3" fmla="*/ 232442 w 238125"/>
                <a:gd name="connsiteY3" fmla="*/ 123636 h 238125"/>
                <a:gd name="connsiteX4" fmla="*/ 123636 w 238125"/>
                <a:gd name="connsiteY4" fmla="*/ 232442 h 238125"/>
                <a:gd name="connsiteX5" fmla="*/ 116016 w 238125"/>
                <a:gd name="connsiteY5" fmla="*/ 56515 h 238125"/>
                <a:gd name="connsiteX6" fmla="*/ 111920 w 238125"/>
                <a:gd name="connsiteY6" fmla="*/ 56515 h 238125"/>
                <a:gd name="connsiteX7" fmla="*/ 52947 w 238125"/>
                <a:gd name="connsiteY7" fmla="*/ 119584 h 238125"/>
                <a:gd name="connsiteX8" fmla="*/ 116016 w 238125"/>
                <a:gd name="connsiteY8" fmla="*/ 178557 h 238125"/>
                <a:gd name="connsiteX9" fmla="*/ 174989 w 238125"/>
                <a:gd name="connsiteY9" fmla="*/ 115488 h 238125"/>
                <a:gd name="connsiteX10" fmla="*/ 116016 w 238125"/>
                <a:gd name="connsiteY10" fmla="*/ 565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25" h="238125">
                  <a:moveTo>
                    <a:pt x="116016" y="232442"/>
                  </a:moveTo>
                  <a:cubicBezTo>
                    <a:pt x="53819" y="230338"/>
                    <a:pt x="5105" y="178212"/>
                    <a:pt x="7209" y="116016"/>
                  </a:cubicBezTo>
                  <a:cubicBezTo>
                    <a:pt x="9314" y="53819"/>
                    <a:pt x="61439" y="5105"/>
                    <a:pt x="123636" y="7209"/>
                  </a:cubicBezTo>
                  <a:cubicBezTo>
                    <a:pt x="185832" y="9314"/>
                    <a:pt x="234546" y="61439"/>
                    <a:pt x="232442" y="123636"/>
                  </a:cubicBezTo>
                  <a:cubicBezTo>
                    <a:pt x="230438" y="182878"/>
                    <a:pt x="182878" y="230438"/>
                    <a:pt x="123636" y="232442"/>
                  </a:cubicBezTo>
                  <a:close/>
                  <a:moveTo>
                    <a:pt x="116016" y="56515"/>
                  </a:moveTo>
                  <a:lnTo>
                    <a:pt x="111920" y="56515"/>
                  </a:lnTo>
                  <a:cubicBezTo>
                    <a:pt x="78219" y="57646"/>
                    <a:pt x="51816" y="85883"/>
                    <a:pt x="52947" y="119584"/>
                  </a:cubicBezTo>
                  <a:cubicBezTo>
                    <a:pt x="54078" y="153285"/>
                    <a:pt x="82315" y="179688"/>
                    <a:pt x="116016" y="178557"/>
                  </a:cubicBezTo>
                  <a:cubicBezTo>
                    <a:pt x="149717" y="177426"/>
                    <a:pt x="176120" y="149189"/>
                    <a:pt x="174989" y="115488"/>
                  </a:cubicBezTo>
                  <a:cubicBezTo>
                    <a:pt x="173911" y="83375"/>
                    <a:pt x="148129" y="57593"/>
                    <a:pt x="116016" y="56515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F358B311-7260-8379-FE09-9E33FE28D67D}"/>
                </a:ext>
              </a:extLst>
            </p:cNvPr>
            <p:cNvCxnSpPr>
              <a:cxnSpLocks/>
              <a:stCxn id="52" idx="8"/>
              <a:endCxn id="47" idx="6"/>
            </p:cNvCxnSpPr>
            <p:nvPr/>
          </p:nvCxnSpPr>
          <p:spPr>
            <a:xfrm>
              <a:off x="6874949" y="3516483"/>
              <a:ext cx="111893" cy="7591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6A1002A-72E8-0324-073A-800CBFF8CB59}"/>
                </a:ext>
              </a:extLst>
            </p:cNvPr>
            <p:cNvCxnSpPr>
              <a:stCxn id="53" idx="9"/>
              <a:endCxn id="47" idx="6"/>
            </p:cNvCxnSpPr>
            <p:nvPr/>
          </p:nvCxnSpPr>
          <p:spPr>
            <a:xfrm flipV="1">
              <a:off x="6871441" y="3592394"/>
              <a:ext cx="115401" cy="8207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EDDBC0F-5434-68A5-085B-455C8B525A9B}"/>
                </a:ext>
              </a:extLst>
            </p:cNvPr>
            <p:cNvCxnSpPr>
              <a:stCxn id="52" idx="8"/>
              <a:endCxn id="46" idx="8"/>
            </p:cNvCxnSpPr>
            <p:nvPr/>
          </p:nvCxnSpPr>
          <p:spPr>
            <a:xfrm flipV="1">
              <a:off x="6874949" y="3404919"/>
              <a:ext cx="83785" cy="1115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BDA75FC-1AED-DC38-57A0-085157C26154}"/>
                </a:ext>
              </a:extLst>
            </p:cNvPr>
            <p:cNvCxnSpPr>
              <a:stCxn id="53" idx="9"/>
              <a:endCxn id="48" idx="7"/>
            </p:cNvCxnSpPr>
            <p:nvPr/>
          </p:nvCxnSpPr>
          <p:spPr>
            <a:xfrm>
              <a:off x="6871441" y="3674465"/>
              <a:ext cx="103453" cy="9158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185473AD-9238-A3EA-D167-EBDF75B235FE}"/>
                </a:ext>
              </a:extLst>
            </p:cNvPr>
            <p:cNvCxnSpPr>
              <a:cxnSpLocks/>
              <a:stCxn id="46" idx="4"/>
              <a:endCxn id="49" idx="8"/>
            </p:cNvCxnSpPr>
            <p:nvPr/>
          </p:nvCxnSpPr>
          <p:spPr>
            <a:xfrm flipV="1">
              <a:off x="7066737" y="3407534"/>
              <a:ext cx="100913" cy="2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DF9DEEB-96B2-9A0B-A7DD-7DF304D7CA8D}"/>
                </a:ext>
              </a:extLst>
            </p:cNvPr>
            <p:cNvCxnSpPr>
              <a:cxnSpLocks/>
              <a:stCxn id="47" idx="8"/>
              <a:endCxn id="50" idx="6"/>
            </p:cNvCxnSpPr>
            <p:nvPr/>
          </p:nvCxnSpPr>
          <p:spPr>
            <a:xfrm flipV="1">
              <a:off x="7042057" y="3591755"/>
              <a:ext cx="124278" cy="639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5E8A49F-8813-4D84-6B61-F133A28238A9}"/>
                </a:ext>
              </a:extLst>
            </p:cNvPr>
            <p:cNvCxnSpPr>
              <a:cxnSpLocks/>
              <a:stCxn id="48" idx="9"/>
              <a:endCxn id="51" idx="7"/>
            </p:cNvCxnSpPr>
            <p:nvPr/>
          </p:nvCxnSpPr>
          <p:spPr>
            <a:xfrm>
              <a:off x="7029821" y="3764023"/>
              <a:ext cx="133294" cy="202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9E68FD1-ED55-A6B9-1B7E-C279B7A574AC}"/>
                </a:ext>
              </a:extLst>
            </p:cNvPr>
            <p:cNvCxnSpPr>
              <a:cxnSpLocks/>
              <a:stCxn id="51" idx="9"/>
              <a:endCxn id="55" idx="7"/>
            </p:cNvCxnSpPr>
            <p:nvPr/>
          </p:nvCxnSpPr>
          <p:spPr>
            <a:xfrm flipV="1">
              <a:off x="7218042" y="3687708"/>
              <a:ext cx="112181" cy="7631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A5E7FFA-C88A-82E5-D0AC-7A628C59E778}"/>
                </a:ext>
              </a:extLst>
            </p:cNvPr>
            <p:cNvCxnSpPr>
              <a:cxnSpLocks/>
              <a:stCxn id="50" idx="8"/>
              <a:endCxn id="54" idx="6"/>
            </p:cNvCxnSpPr>
            <p:nvPr/>
          </p:nvCxnSpPr>
          <p:spPr>
            <a:xfrm flipV="1">
              <a:off x="7221550" y="3527699"/>
              <a:ext cx="111893" cy="6405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E6CC0A2-7E86-0B32-8660-474B05D7D2D9}"/>
                </a:ext>
              </a:extLst>
            </p:cNvPr>
            <p:cNvCxnSpPr>
              <a:cxnSpLocks/>
              <a:stCxn id="49" idx="10"/>
              <a:endCxn id="54" idx="6"/>
            </p:cNvCxnSpPr>
            <p:nvPr/>
          </p:nvCxnSpPr>
          <p:spPr>
            <a:xfrm>
              <a:off x="7220278" y="3406167"/>
              <a:ext cx="113165" cy="12153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371F4FD-CDC2-0DEA-C3E7-E5340E4F1087}"/>
                </a:ext>
              </a:extLst>
            </p:cNvPr>
            <p:cNvCxnSpPr>
              <a:cxnSpLocks/>
              <a:stCxn id="50" idx="8"/>
              <a:endCxn id="55" idx="7"/>
            </p:cNvCxnSpPr>
            <p:nvPr/>
          </p:nvCxnSpPr>
          <p:spPr>
            <a:xfrm>
              <a:off x="7221550" y="3591755"/>
              <a:ext cx="108673" cy="9595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8E890B5F-7B6E-0F1C-ACFC-AFB5EC1F086B}"/>
                </a:ext>
              </a:extLst>
            </p:cNvPr>
            <p:cNvCxnSpPr>
              <a:cxnSpLocks/>
              <a:stCxn id="48" idx="9"/>
              <a:endCxn id="50" idx="6"/>
            </p:cNvCxnSpPr>
            <p:nvPr/>
          </p:nvCxnSpPr>
          <p:spPr>
            <a:xfrm flipV="1">
              <a:off x="7029821" y="3591755"/>
              <a:ext cx="136514" cy="172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B3BA5D7-01AD-09A9-9C77-A43CA734AA7C}"/>
                </a:ext>
              </a:extLst>
            </p:cNvPr>
            <p:cNvCxnSpPr>
              <a:cxnSpLocks/>
              <a:stCxn id="47" idx="8"/>
              <a:endCxn id="49" idx="8"/>
            </p:cNvCxnSpPr>
            <p:nvPr/>
          </p:nvCxnSpPr>
          <p:spPr>
            <a:xfrm flipV="1">
              <a:off x="7042057" y="3407534"/>
              <a:ext cx="125593" cy="184860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F3F471-02B3-5D92-BCB4-9D5E5DEFD67A}"/>
                </a:ext>
              </a:extLst>
            </p:cNvPr>
            <p:cNvCxnSpPr>
              <a:cxnSpLocks/>
              <a:stCxn id="46" idx="10"/>
              <a:endCxn id="50" idx="6"/>
            </p:cNvCxnSpPr>
            <p:nvPr/>
          </p:nvCxnSpPr>
          <p:spPr>
            <a:xfrm>
              <a:off x="7040785" y="3406806"/>
              <a:ext cx="125550" cy="184949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9A43DD5D-5271-619C-FB53-87F6F3879DFB}"/>
                </a:ext>
              </a:extLst>
            </p:cNvPr>
            <p:cNvCxnSpPr>
              <a:cxnSpLocks/>
              <a:stCxn id="47" idx="8"/>
              <a:endCxn id="51" idx="7"/>
            </p:cNvCxnSpPr>
            <p:nvPr/>
          </p:nvCxnSpPr>
          <p:spPr>
            <a:xfrm>
              <a:off x="7042057" y="3592394"/>
              <a:ext cx="121058" cy="17365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3666780-0AD7-93E2-80CC-97A42F797543}"/>
                </a:ext>
              </a:extLst>
            </p:cNvPr>
            <p:cNvCxnSpPr>
              <a:cxnSpLocks/>
              <a:stCxn id="46" idx="10"/>
              <a:endCxn id="51" idx="7"/>
            </p:cNvCxnSpPr>
            <p:nvPr/>
          </p:nvCxnSpPr>
          <p:spPr>
            <a:xfrm>
              <a:off x="7040785" y="3406806"/>
              <a:ext cx="122330" cy="35924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D15C9EE-C82E-17FF-C277-35F335CFDC41}"/>
                </a:ext>
              </a:extLst>
            </p:cNvPr>
            <p:cNvCxnSpPr>
              <a:cxnSpLocks/>
              <a:stCxn id="49" idx="10"/>
              <a:endCxn id="55" idx="7"/>
            </p:cNvCxnSpPr>
            <p:nvPr/>
          </p:nvCxnSpPr>
          <p:spPr>
            <a:xfrm>
              <a:off x="7220278" y="3406167"/>
              <a:ext cx="109945" cy="28154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2EE0C6E6-3AE0-C2BF-BB1B-54A6AD687312}"/>
                </a:ext>
              </a:extLst>
            </p:cNvPr>
            <p:cNvCxnSpPr>
              <a:cxnSpLocks/>
              <a:stCxn id="51" idx="9"/>
              <a:endCxn id="54" idx="1"/>
            </p:cNvCxnSpPr>
            <p:nvPr/>
          </p:nvCxnSpPr>
          <p:spPr>
            <a:xfrm flipV="1">
              <a:off x="7218042" y="3527888"/>
              <a:ext cx="91566" cy="23613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FB3B011D-4F82-2B3D-5F7D-6BC42E290812}"/>
                </a:ext>
              </a:extLst>
            </p:cNvPr>
            <p:cNvCxnSpPr>
              <a:cxnSpLocks/>
              <a:stCxn id="49" idx="8"/>
              <a:endCxn id="48" idx="3"/>
            </p:cNvCxnSpPr>
            <p:nvPr/>
          </p:nvCxnSpPr>
          <p:spPr>
            <a:xfrm flipH="1">
              <a:off x="7055678" y="3407534"/>
              <a:ext cx="111972" cy="36052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2780198D-26B9-8CE3-4E99-C62742EEB515}"/>
                </a:ext>
              </a:extLst>
            </p:cNvPr>
            <p:cNvCxnSpPr>
              <a:cxnSpLocks/>
              <a:stCxn id="53" idx="9"/>
              <a:endCxn id="46" idx="8"/>
            </p:cNvCxnSpPr>
            <p:nvPr/>
          </p:nvCxnSpPr>
          <p:spPr>
            <a:xfrm flipV="1">
              <a:off x="6871441" y="3408173"/>
              <a:ext cx="116716" cy="26629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4AB5E5F-7E2A-999D-3B26-04CEADB9C323}"/>
                </a:ext>
              </a:extLst>
            </p:cNvPr>
            <p:cNvCxnSpPr>
              <a:cxnSpLocks/>
              <a:stCxn id="52" idx="8"/>
              <a:endCxn id="48" idx="7"/>
            </p:cNvCxnSpPr>
            <p:nvPr/>
          </p:nvCxnSpPr>
          <p:spPr>
            <a:xfrm>
              <a:off x="6874949" y="3516483"/>
              <a:ext cx="99945" cy="24956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7" name="Picture 76">
            <a:extLst>
              <a:ext uri="{FF2B5EF4-FFF2-40B4-BE49-F238E27FC236}">
                <a16:creationId xmlns:a16="http://schemas.microsoft.com/office/drawing/2014/main" id="{1BFDBBA6-8C21-93EA-3AA0-F5A8BC25E33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3545" y="2217095"/>
            <a:ext cx="685214" cy="8327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F6AF43F1-418A-7929-4E55-C7D46BEF992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966" y="3998183"/>
            <a:ext cx="721123" cy="84727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F132ECCD-64CC-B7B0-DE28-1502EFA18F9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13" y="4753149"/>
            <a:ext cx="846620" cy="99393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1706CB83-DDB3-D456-4B65-A7609F70356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751" y="4234436"/>
            <a:ext cx="721123" cy="84727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DA6E83F3-BF7B-3536-A446-485941E42E65}"/>
              </a:ext>
            </a:extLst>
          </p:cNvPr>
          <p:cNvSpPr txBox="1"/>
          <p:nvPr/>
        </p:nvSpPr>
        <p:spPr>
          <a:xfrm>
            <a:off x="10093203" y="4865716"/>
            <a:ext cx="60421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-Apps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D41EEEE7-504A-4AA4-CC10-349A074FBEE0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t="11333"/>
          <a:stretch/>
        </p:blipFill>
        <p:spPr>
          <a:xfrm>
            <a:off x="10106827" y="4308277"/>
            <a:ext cx="593151" cy="60575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29C32B0-0F67-6F5D-4569-8FC4200BFFD3}"/>
              </a:ext>
            </a:extLst>
          </p:cNvPr>
          <p:cNvSpPr/>
          <p:nvPr/>
        </p:nvSpPr>
        <p:spPr>
          <a:xfrm>
            <a:off x="494233" y="3625132"/>
            <a:ext cx="846619" cy="927301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3FFB4ED-290A-7BDD-374F-98D5D4EAA5C5}"/>
              </a:ext>
            </a:extLst>
          </p:cNvPr>
          <p:cNvSpPr txBox="1"/>
          <p:nvPr/>
        </p:nvSpPr>
        <p:spPr>
          <a:xfrm>
            <a:off x="502510" y="4315018"/>
            <a:ext cx="8281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relessPro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 descr="A person touching a glowing circle&#10;&#10;Description automatically generated">
            <a:extLst>
              <a:ext uri="{FF2B5EF4-FFF2-40B4-BE49-F238E27FC236}">
                <a16:creationId xmlns:a16="http://schemas.microsoft.com/office/drawing/2014/main" id="{F6E0C98A-DF85-784E-BC13-D53D51C2D7E1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4351" y="3703475"/>
            <a:ext cx="652309" cy="640727"/>
          </a:xfrm>
          <a:prstGeom prst="rect">
            <a:avLst/>
          </a:prstGeom>
        </p:spPr>
      </p:pic>
      <p:pic>
        <p:nvPicPr>
          <p:cNvPr id="1026" name="Picture 2" descr="FreeFall Aerospace Uses Ansys HFSS to ...">
            <a:extLst>
              <a:ext uri="{FF2B5EF4-FFF2-40B4-BE49-F238E27FC236}">
                <a16:creationId xmlns:a16="http://schemas.microsoft.com/office/drawing/2014/main" id="{40F3EB1B-A640-76F1-10B9-B5D1B2DCF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177" y="1534353"/>
            <a:ext cx="1017440" cy="645822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67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266DA-A9DC-9F54-D7BB-10F377908E0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1638" y="1687395"/>
            <a:ext cx="10640085" cy="3784600"/>
          </a:xfrm>
        </p:spPr>
        <p:txBody>
          <a:bodyPr/>
          <a:lstStyle/>
          <a:p>
            <a:r>
              <a:rPr lang="en-US" sz="1800" b="1" noProof="0" dirty="0"/>
              <a:t>Model the complete signal chain </a:t>
            </a:r>
          </a:p>
          <a:p>
            <a:pPr lvl="1"/>
            <a:r>
              <a:rPr lang="en-US" sz="1600" noProof="0" dirty="0"/>
              <a:t>Build an end-to-end representation of the system including baseband waveforms, RF impairments, power amplifiers, phased arrays, and propagation channels.</a:t>
            </a:r>
          </a:p>
          <a:p>
            <a:r>
              <a:rPr lang="en-US" sz="1800" b="1" noProof="0" dirty="0"/>
              <a:t>Incorporate measurement-based device models </a:t>
            </a:r>
          </a:p>
          <a:p>
            <a:pPr lvl="1"/>
            <a:r>
              <a:rPr lang="en-US" sz="1600" noProof="0" dirty="0"/>
              <a:t>Use extracted behavioral models (e.g., PA nonlinearity, mixer characteristics, memory effects) to replicate real hardware behavior.</a:t>
            </a:r>
          </a:p>
          <a:p>
            <a:r>
              <a:rPr lang="en-US" sz="1800" b="1" noProof="0" dirty="0"/>
              <a:t>Simulate realistic environments</a:t>
            </a:r>
          </a:p>
          <a:p>
            <a:pPr lvl="1"/>
            <a:r>
              <a:rPr lang="en-US" sz="1600" noProof="0" dirty="0"/>
              <a:t>Include dynamic channel conditions, Doppler, atmospheric losses, and mobility to reflect real-world operating scenarios.</a:t>
            </a:r>
          </a:p>
          <a:p>
            <a:r>
              <a:rPr lang="en-US" sz="1800" b="1" noProof="0" dirty="0"/>
              <a:t>Correlate with hardware and measurements</a:t>
            </a:r>
          </a:p>
          <a:p>
            <a:pPr lvl="1"/>
            <a:r>
              <a:rPr lang="en-US" sz="1600" noProof="0" dirty="0"/>
              <a:t>Validate simulation results against lab data to calibrate and refine the model for predictive accuracy.</a:t>
            </a:r>
          </a:p>
          <a:p>
            <a:r>
              <a:rPr lang="en-US" sz="1800" b="1" noProof="0" dirty="0"/>
              <a:t>Perform parametric sweeps and optimization</a:t>
            </a:r>
          </a:p>
          <a:p>
            <a:pPr lvl="1"/>
            <a:r>
              <a:rPr lang="en-US" sz="1600" noProof="0" dirty="0"/>
              <a:t>Use automation and HPC to explore design tradeoffs and predict performance before hardware implementation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1E2546-E05F-C31D-E0FB-F0F200FE4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Building an RF Digital Twin with SystemV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408454-18D9-BFEE-3CCC-D3E14C03B279}"/>
              </a:ext>
            </a:extLst>
          </p:cNvPr>
          <p:cNvSpPr txBox="1"/>
          <p:nvPr/>
        </p:nvSpPr>
        <p:spPr>
          <a:xfrm>
            <a:off x="1034144" y="3352052"/>
            <a:ext cx="10123713" cy="92333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wrap="square" lIns="91440" tIns="91440" rIns="91440" bIns="91440" rtlCol="0" anchor="ctr" anchorCtr="1">
            <a:spAutoFit/>
          </a:bodyPr>
          <a:lstStyle/>
          <a:p>
            <a:pPr algn="ctr"/>
            <a:r>
              <a:rPr lang="en-US" sz="2400" b="1" noProof="0" dirty="0">
                <a:solidFill>
                  <a:schemeClr val="bg1"/>
                </a:solidFill>
                <a:latin typeface="Aptos" panose="020B0004020202020204" pitchFamily="34" charset="0"/>
              </a:rPr>
              <a:t>SystemVue NTN modeling capabilities can be used to build high-fidelity digital twins of NTN systems during design and validation phases. </a:t>
            </a:r>
          </a:p>
        </p:txBody>
      </p:sp>
    </p:spTree>
    <p:extLst>
      <p:ext uri="{BB962C8B-B14F-4D97-AF65-F5344CB8AC3E}">
        <p14:creationId xmlns:p14="http://schemas.microsoft.com/office/powerpoint/2010/main" val="240280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26 Keysight Widescreen Template">
  <a:themeElements>
    <a:clrScheme name="Custom 5">
      <a:dk1>
        <a:srgbClr val="000000"/>
      </a:dk1>
      <a:lt1>
        <a:srgbClr val="FFFFFF"/>
      </a:lt1>
      <a:dk2>
        <a:srgbClr val="97999B"/>
      </a:dk2>
      <a:lt2>
        <a:srgbClr val="F2A900"/>
      </a:lt2>
      <a:accent1>
        <a:srgbClr val="E90029"/>
      </a:accent1>
      <a:accent2>
        <a:srgbClr val="009245"/>
      </a:accent2>
      <a:accent3>
        <a:srgbClr val="9B26B6"/>
      </a:accent3>
      <a:accent4>
        <a:srgbClr val="071D49"/>
      </a:accent4>
      <a:accent5>
        <a:srgbClr val="426DA9"/>
      </a:accent5>
      <a:accent6>
        <a:srgbClr val="63B1BC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43AC8D9A-13D3-B442-B1BF-E6039387B237}" vid="{C5729910-CA4C-1840-85CE-BCF4442C9752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BCE9CFEED1754A8794E8AFAD4018F5" ma:contentTypeVersion="14" ma:contentTypeDescription="Create a new document." ma:contentTypeScope="" ma:versionID="4ad358d1d4f28f01e228a7455a9e972c">
  <xsd:schema xmlns:xsd="http://www.w3.org/2001/XMLSchema" xmlns:xs="http://www.w3.org/2001/XMLSchema" xmlns:p="http://schemas.microsoft.com/office/2006/metadata/properties" xmlns:ns2="7d024128-99a2-4499-a6da-0dbff1eceff6" xmlns:ns3="0767c470-3dcf-4b69-8e5b-cc6894ddf889" targetNamespace="http://schemas.microsoft.com/office/2006/metadata/properties" ma:root="true" ma:fieldsID="3f8f23b0d07dfd9089170fcd425d8813" ns2:_="" ns3:_="">
    <xsd:import namespace="7d024128-99a2-4499-a6da-0dbff1eceff6"/>
    <xsd:import namespace="0767c470-3dcf-4b69-8e5b-cc6894ddf88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24128-99a2-4499-a6da-0dbff1ecef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1b4e610-9c4a-4944-b620-b446fb4a28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67c470-3dcf-4b69-8e5b-cc6894ddf88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0fad137-6ca7-471d-b7ed-6d5cccfc12b1}" ma:internalName="TaxCatchAll" ma:showField="CatchAllData" ma:web="0767c470-3dcf-4b69-8e5b-cc6894ddf88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767c470-3dcf-4b69-8e5b-cc6894ddf889" xsi:nil="true"/>
    <lcf76f155ced4ddcb4097134ff3c332f xmlns="7d024128-99a2-4499-a6da-0dbff1eceff6">
      <Terms xmlns="http://schemas.microsoft.com/office/infopath/2007/PartnerControls"/>
    </lcf76f155ced4ddcb4097134ff3c332f>
    <SharedWithUsers xmlns="0767c470-3dcf-4b69-8e5b-cc6894ddf889">
      <UserInfo>
        <DisplayName>Eva Ribes-Vilanova</DisplayName>
        <AccountId>108</AccountId>
        <AccountType/>
      </UserInfo>
      <UserInfo>
        <DisplayName>Sang-Kyo Shin</DisplayName>
        <AccountId>10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24C61C5-4B44-40D0-B80A-53165299EB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0AFE79-D0F2-40E2-A0FA-1083BB2A5D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024128-99a2-4499-a6da-0dbff1eceff6"/>
    <ds:schemaRef ds:uri="0767c470-3dcf-4b69-8e5b-cc6894ddf8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557FDC-6B69-4AF4-9507-5607DAB1E8F5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7d024128-99a2-4499-a6da-0dbff1eceff6"/>
    <ds:schemaRef ds:uri="http://schemas.microsoft.com/office/infopath/2007/PartnerControls"/>
    <ds:schemaRef ds:uri="0767c470-3dcf-4b69-8e5b-cc6894ddf889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63545f27-3232-4d74-a44d-cdd457063402}" enabled="0" method="" siteId="{63545f27-3232-4d74-a44d-cdd45706340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eysight_JAN26_BLACK_TEMPLATE_Template</Template>
  <TotalTime>58343</TotalTime>
  <Words>1735</Words>
  <Application>Microsoft Office PowerPoint</Application>
  <PresentationFormat>Widescreen</PresentationFormat>
  <Paragraphs>182</Paragraphs>
  <Slides>16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ptos</vt:lpstr>
      <vt:lpstr>Aptos Black</vt:lpstr>
      <vt:lpstr>Arial</vt:lpstr>
      <vt:lpstr>Arial Bold</vt:lpstr>
      <vt:lpstr>Arial Narrow</vt:lpstr>
      <vt:lpstr>Calibri</vt:lpstr>
      <vt:lpstr>Wingdings</vt:lpstr>
      <vt:lpstr>2026 Keysight Widescreen Template</vt:lpstr>
      <vt:lpstr>Digital Twin-Enabled Design of 5G &amp; 6G Satellite Links</vt:lpstr>
      <vt:lpstr>Outline</vt:lpstr>
      <vt:lpstr>NTN System Design Challenges</vt:lpstr>
      <vt:lpstr>Energy Efficiency Considerations in Payload Design</vt:lpstr>
      <vt:lpstr>Energy Efficiency Considerations in Payload Design</vt:lpstr>
      <vt:lpstr>What Qualifies a Simulation Tool to be an RF Digital Twin?</vt:lpstr>
      <vt:lpstr>What Qualifies a Simulation Tool to be an RF Digital Twin?</vt:lpstr>
      <vt:lpstr>SystemVue Integrated Workflow</vt:lpstr>
      <vt:lpstr>Building an RF Digital Twin with SystemVue</vt:lpstr>
      <vt:lpstr>SystemVue: An RF Digital Twin</vt:lpstr>
      <vt:lpstr>Satellite Phased-Array Beam Optimization</vt:lpstr>
      <vt:lpstr>NTN System Model</vt:lpstr>
      <vt:lpstr>NTN System Modeling in SystemVue</vt:lpstr>
      <vt:lpstr>NTN Coverage Maps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with Image</dc:title>
  <dc:creator>eva_ribes-vilanova@keysight.com</dc:creator>
  <cp:lastModifiedBy>Sassan Ahmadi</cp:lastModifiedBy>
  <cp:revision>170</cp:revision>
  <dcterms:created xsi:type="dcterms:W3CDTF">2022-02-23T22:51:00Z</dcterms:created>
  <dcterms:modified xsi:type="dcterms:W3CDTF">2026-03-16T16:2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BCE9CFEED1754A8794E8AFAD4018F5</vt:lpwstr>
  </property>
  <property fmtid="{D5CDD505-2E9C-101B-9397-08002B2CF9AE}" pid="3" name="MediaServiceImageTags">
    <vt:lpwstr/>
  </property>
</Properties>
</file>